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9" r:id="rId5"/>
    <p:sldMasterId id="2147483684" r:id="rId6"/>
    <p:sldMasterId id="2147483697" r:id="rId7"/>
  </p:sldMasterIdLst>
  <p:notesMasterIdLst>
    <p:notesMasterId r:id="rId52"/>
  </p:notesMasterIdLst>
  <p:handoutMasterIdLst>
    <p:handoutMasterId r:id="rId53"/>
  </p:handoutMasterIdLst>
  <p:sldIdLst>
    <p:sldId id="259" r:id="rId8"/>
    <p:sldId id="388" r:id="rId9"/>
    <p:sldId id="304" r:id="rId10"/>
    <p:sldId id="336" r:id="rId11"/>
    <p:sldId id="337" r:id="rId12"/>
    <p:sldId id="384" r:id="rId13"/>
    <p:sldId id="387" r:id="rId14"/>
    <p:sldId id="360" r:id="rId15"/>
    <p:sldId id="386" r:id="rId16"/>
    <p:sldId id="256" r:id="rId17"/>
    <p:sldId id="279" r:id="rId18"/>
    <p:sldId id="263" r:id="rId19"/>
    <p:sldId id="261" r:id="rId20"/>
    <p:sldId id="257" r:id="rId21"/>
    <p:sldId id="258" r:id="rId22"/>
    <p:sldId id="265" r:id="rId23"/>
    <p:sldId id="277" r:id="rId24"/>
    <p:sldId id="275" r:id="rId25"/>
    <p:sldId id="269" r:id="rId26"/>
    <p:sldId id="280" r:id="rId27"/>
    <p:sldId id="282" r:id="rId28"/>
    <p:sldId id="283" r:id="rId29"/>
    <p:sldId id="276" r:id="rId30"/>
    <p:sldId id="281" r:id="rId31"/>
    <p:sldId id="389" r:id="rId32"/>
    <p:sldId id="303" r:id="rId33"/>
    <p:sldId id="285" r:id="rId34"/>
    <p:sldId id="390" r:id="rId35"/>
    <p:sldId id="391" r:id="rId36"/>
    <p:sldId id="392" r:id="rId37"/>
    <p:sldId id="311" r:id="rId38"/>
    <p:sldId id="393" r:id="rId39"/>
    <p:sldId id="310" r:id="rId40"/>
    <p:sldId id="288" r:id="rId41"/>
    <p:sldId id="289" r:id="rId42"/>
    <p:sldId id="298" r:id="rId43"/>
    <p:sldId id="297" r:id="rId44"/>
    <p:sldId id="296" r:id="rId45"/>
    <p:sldId id="301" r:id="rId46"/>
    <p:sldId id="302" r:id="rId47"/>
    <p:sldId id="305" r:id="rId48"/>
    <p:sldId id="308" r:id="rId49"/>
    <p:sldId id="309" r:id="rId50"/>
    <p:sldId id="264" r:id="rId51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9D0"/>
    <a:srgbClr val="32B956"/>
    <a:srgbClr val="484D51"/>
    <a:srgbClr val="4472C4"/>
    <a:srgbClr val="F58214"/>
    <a:srgbClr val="B5274A"/>
    <a:srgbClr val="000000"/>
    <a:srgbClr val="A64D94"/>
    <a:srgbClr val="008238"/>
    <a:srgbClr val="8CC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50" d="100"/>
          <a:sy n="150" d="100"/>
        </p:scale>
        <p:origin x="654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A8D1A3-9458-4F2B-98CC-F395F9539EF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8552FB84-B9A2-4BFD-A625-B5A8DDB8C040}">
      <dgm:prSet phldrT="[Teksti]"/>
      <dgm:spPr/>
      <dgm:t>
        <a:bodyPr/>
        <a:lstStyle/>
        <a:p>
          <a:r>
            <a:rPr lang="fi-FI">
              <a:latin typeface="Lato" panose="020F0502020204030203" pitchFamily="34" charset="0"/>
            </a:rPr>
            <a:t>Orientoiva työpaja, 2.11.2020 &amp; haastattelut</a:t>
          </a:r>
        </a:p>
      </dgm:t>
    </dgm:pt>
    <dgm:pt modelId="{9E2EDFAB-CD6A-406B-8F01-4C599748ACA5}" type="parTrans" cxnId="{08D863DF-CFEE-4EBD-9826-C34B250C5DD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3881DC69-E7C6-4F97-9E4E-CACE8FA970E2}" type="sibTrans" cxnId="{08D863DF-CFEE-4EBD-9826-C34B250C5DD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ACA1677A-885D-4051-8FB8-7795A2650025}">
      <dgm:prSet phldrT="[Teksti]"/>
      <dgm:spPr/>
      <dgm:t>
        <a:bodyPr/>
        <a:lstStyle/>
        <a:p>
          <a:r>
            <a:rPr lang="fi-FI">
              <a:latin typeface="Lato" panose="020F0502020204030203" pitchFamily="34" charset="0"/>
            </a:rPr>
            <a:t>Työpaja 1, 30.11.2020</a:t>
          </a:r>
        </a:p>
      </dgm:t>
    </dgm:pt>
    <dgm:pt modelId="{AD167618-ADE2-4BAB-A2BE-B18019E03F0E}" type="parTrans" cxnId="{C1D3BF3D-E582-4D19-AFD6-BCD3A50F73A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4205D4FA-5033-41A3-A8CF-C5C2E4877D6C}" type="sibTrans" cxnId="{C1D3BF3D-E582-4D19-AFD6-BCD3A50F73A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0C49990A-F575-4F40-9AE5-9BCC76BAA697}">
      <dgm:prSet phldrT="[Teksti]"/>
      <dgm:spPr/>
      <dgm:t>
        <a:bodyPr/>
        <a:lstStyle/>
        <a:p>
          <a:r>
            <a:rPr lang="fi-FI" b="0">
              <a:latin typeface="Lato" panose="020F0502020204030203" pitchFamily="34" charset="0"/>
            </a:rPr>
            <a:t>Johtoryhmän strategiset linjaukset </a:t>
          </a:r>
          <a:r>
            <a:rPr lang="fi-FI" b="0" err="1">
              <a:latin typeface="Lato" panose="020F0502020204030203" pitchFamily="34" charset="0"/>
            </a:rPr>
            <a:t>Ylä</a:t>
          </a:r>
          <a:r>
            <a:rPr lang="fi-FI" b="0">
              <a:latin typeface="Lato" panose="020F0502020204030203" pitchFamily="34" charset="0"/>
            </a:rPr>
            <a:t>-Savon </a:t>
          </a:r>
          <a:r>
            <a:rPr lang="fi-FI" b="0" err="1">
              <a:latin typeface="Lato" panose="020F0502020204030203" pitchFamily="34" charset="0"/>
            </a:rPr>
            <a:t>soten</a:t>
          </a:r>
          <a:r>
            <a:rPr lang="fi-FI" b="0">
              <a:latin typeface="Lato" panose="020F0502020204030203" pitchFamily="34" charset="0"/>
            </a:rPr>
            <a:t> </a:t>
          </a:r>
          <a:r>
            <a:rPr lang="fi-FI" b="0" err="1">
              <a:latin typeface="Lato" panose="020F0502020204030203" pitchFamily="34" charset="0"/>
            </a:rPr>
            <a:t>digitalisaatiolle</a:t>
          </a:r>
          <a:endParaRPr lang="fi-FI" b="0">
            <a:latin typeface="Lato" panose="020F0502020204030203" pitchFamily="34" charset="0"/>
          </a:endParaRPr>
        </a:p>
      </dgm:t>
    </dgm:pt>
    <dgm:pt modelId="{9584E447-E9CB-432F-ADF3-19921E24AF22}" type="parTrans" cxnId="{BC99E04E-6B2F-436B-9CED-5F86EA031538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673EAC13-D397-4785-8984-0BD8AB0BF404}" type="sibTrans" cxnId="{BC99E04E-6B2F-436B-9CED-5F86EA031538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A46F5FCE-4553-46B5-A20D-89592DABE2A0}">
      <dgm:prSet phldrT="[Teksti]"/>
      <dgm:spPr/>
      <dgm:t>
        <a:bodyPr/>
        <a:lstStyle/>
        <a:p>
          <a:r>
            <a:rPr lang="fi-FI">
              <a:latin typeface="Lato" panose="020F0502020204030203" pitchFamily="34" charset="0"/>
            </a:rPr>
            <a:t>Työpaja 2, 1.2.2021</a:t>
          </a:r>
        </a:p>
      </dgm:t>
    </dgm:pt>
    <dgm:pt modelId="{43E887A4-32F3-46A7-88E0-7BBD6F5B9112}" type="parTrans" cxnId="{75A1DB76-FB86-4CEC-A9ED-BEC72E07EE19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39515E9D-EF8B-4A85-9D22-D7E5E122A348}" type="sibTrans" cxnId="{75A1DB76-FB86-4CEC-A9ED-BEC72E07EE19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4F74E5FB-30F4-4D45-B516-1023B1000ACB}">
      <dgm:prSet phldrT="[Teksti]"/>
      <dgm:spPr/>
      <dgm:t>
        <a:bodyPr/>
        <a:lstStyle/>
        <a:p>
          <a:r>
            <a:rPr lang="fi-FI">
              <a:latin typeface="Lato" panose="020F0502020204030203" pitchFamily="34" charset="0"/>
            </a:rPr>
            <a:t>Yhteenveto </a:t>
          </a:r>
          <a:r>
            <a:rPr lang="en-US" err="1">
              <a:latin typeface="Lato" panose="020F0502020204030203" pitchFamily="34" charset="0"/>
            </a:rPr>
            <a:t>edellisen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työpajan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tuloksista</a:t>
          </a:r>
          <a:endParaRPr lang="fi-FI">
            <a:latin typeface="Lato" panose="020F0502020204030203" pitchFamily="34" charset="0"/>
          </a:endParaRPr>
        </a:p>
      </dgm:t>
    </dgm:pt>
    <dgm:pt modelId="{5D13FCF5-D7E6-4792-98E3-F23B0A5C3E7D}" type="parTrans" cxnId="{6C9C4A1E-5091-4D3B-9CAD-3AADFFE15B09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82289073-CD86-499A-9468-AB9790E0CD02}" type="sibTrans" cxnId="{6C9C4A1E-5091-4D3B-9CAD-3AADFFE15B09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949D4113-2236-4E65-B31F-4EB3E3BDDC81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Työn tavoitteet ja toteutussuunnitelma</a:t>
          </a:r>
        </a:p>
      </dgm:t>
    </dgm:pt>
    <dgm:pt modelId="{F5441C5E-0D83-4B8A-95F4-C1AE810BAC4C}" type="parTrans" cxnId="{1BCBE9A4-41D7-4399-8980-6D93B1152FB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95B7DA83-7158-4C69-992B-4A99A628EF5A}" type="sibTrans" cxnId="{1BCBE9A4-41D7-4399-8980-6D93B1152FB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7B01E5D5-B1E4-4521-9BA9-B93AC7BD0AF8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Johtoryhmän jäsenten ajatukset ja tavoitteet </a:t>
          </a:r>
          <a:r>
            <a:rPr lang="fi-FI" err="1">
              <a:latin typeface="Lato" panose="020F0502020204030203" pitchFamily="34" charset="0"/>
            </a:rPr>
            <a:t>digitalisaatiolle</a:t>
          </a:r>
          <a:r>
            <a:rPr lang="fi-FI">
              <a:latin typeface="Lato" panose="020F0502020204030203" pitchFamily="34" charset="0"/>
            </a:rPr>
            <a:t> ja sen johtamiselle</a:t>
          </a:r>
        </a:p>
      </dgm:t>
    </dgm:pt>
    <dgm:pt modelId="{2EAAC17E-6E4D-4ADE-8697-7E2401E73C76}" type="parTrans" cxnId="{92BA9B8A-50FB-490C-B4D6-1E01B615CD53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824375AD-2424-4663-A95B-79B01DBFA748}" type="sibTrans" cxnId="{92BA9B8A-50FB-490C-B4D6-1E01B615CD53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8D28BA29-4F28-4EF8-8FC3-E6A33FF3EFA1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Keskustelu organisaation valmiuksista</a:t>
          </a:r>
        </a:p>
      </dgm:t>
    </dgm:pt>
    <dgm:pt modelId="{72938994-2F4D-4EED-A56A-441E9B50D277}" type="parTrans" cxnId="{0727FF6F-DA9B-463B-A0A7-A1DE0AD99B62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9F5FFCBD-BB7D-479E-B74D-F8BAB3F25EE6}" type="sibTrans" cxnId="{0727FF6F-DA9B-463B-A0A7-A1DE0AD99B62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27B3197C-2A48-4459-AC10-34C8C72E724D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Johtoryhmän jäsenten haastatteluiden sopimisen käytännöt</a:t>
          </a:r>
        </a:p>
      </dgm:t>
    </dgm:pt>
    <dgm:pt modelId="{DA088C63-6204-4184-8258-8DEFAD9FB39B}" type="parTrans" cxnId="{59F8BC80-0E09-42B9-AC43-4A4B411C3A4B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CE737FBB-7932-4B1B-AA73-A557B8448424}" type="sibTrans" cxnId="{59F8BC80-0E09-42B9-AC43-4A4B411C3A4B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4FC7A1E0-FB11-4FCC-828C-E814F2C4DD54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Yhteenveto organisaation nykytilasta ja valmiuksista</a:t>
          </a:r>
        </a:p>
      </dgm:t>
    </dgm:pt>
    <dgm:pt modelId="{B4718035-F0BC-4107-BE96-4FAD74F7D99D}" type="parTrans" cxnId="{2783D6BC-76EF-4253-A91A-A095EB79CB63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20FEB071-AC14-4153-AB1F-78F4FFF867DA}" type="sibTrans" cxnId="{2783D6BC-76EF-4253-A91A-A095EB79CB63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746EDFAD-9080-430D-9B45-A285419A3E74}">
      <dgm:prSet/>
      <dgm:spPr/>
      <dgm:t>
        <a:bodyPr/>
        <a:lstStyle/>
        <a:p>
          <a:r>
            <a:rPr lang="fi-FI" i="1">
              <a:solidFill>
                <a:srgbClr val="0089CF"/>
              </a:solidFill>
              <a:latin typeface="Lato" panose="020F0502020204030203" pitchFamily="34" charset="0"/>
            </a:rPr>
            <a:t>Tuotos: Digitalisaatiota ja sen johtamista tukevat konkreettiset linjaukset</a:t>
          </a:r>
          <a:endParaRPr lang="fi-FI">
            <a:solidFill>
              <a:srgbClr val="0089CF"/>
            </a:solidFill>
            <a:latin typeface="Lato" panose="020F0502020204030203" pitchFamily="34" charset="0"/>
          </a:endParaRPr>
        </a:p>
      </dgm:t>
    </dgm:pt>
    <dgm:pt modelId="{C35EC999-97E0-4033-8514-DD30200EBD49}" type="parTrans" cxnId="{62888945-9D64-4A94-8B5F-72170ABAAF85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3F1AE542-7425-4B3A-9B1C-8228B25B80FC}" type="sibTrans" cxnId="{62888945-9D64-4A94-8B5F-72170ABAAF85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D33CB04C-35F6-49E6-8A3D-3A7F08CC33AC}">
      <dgm:prSet/>
      <dgm:spPr/>
      <dgm:t>
        <a:bodyPr/>
        <a:lstStyle/>
        <a:p>
          <a:r>
            <a:rPr lang="en-US">
              <a:latin typeface="Lato" panose="020F0502020204030203" pitchFamily="34" charset="0"/>
            </a:rPr>
            <a:t>Digitalisaation </a:t>
          </a:r>
          <a:r>
            <a:rPr lang="en-US" err="1">
              <a:latin typeface="Lato" panose="020F0502020204030203" pitchFamily="34" charset="0"/>
            </a:rPr>
            <a:t>kehittämisen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strategiset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linjaukset</a:t>
          </a:r>
          <a:endParaRPr lang="fi-FI">
            <a:latin typeface="Lato" panose="020F0502020204030203" pitchFamily="34" charset="0"/>
          </a:endParaRPr>
        </a:p>
      </dgm:t>
    </dgm:pt>
    <dgm:pt modelId="{7D083682-C73E-47F0-8632-5A637BE352C7}" type="parTrans" cxnId="{4354B57B-9D66-460A-AEA3-05309A5E79A6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BCE96B49-2556-475A-9089-05F32B07F35B}" type="sibTrans" cxnId="{4354B57B-9D66-460A-AEA3-05309A5E79A6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B925386C-2DA4-4BCD-B4E4-8DA961B09877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Linjausluonnosten läpikäynti</a:t>
          </a:r>
        </a:p>
      </dgm:t>
    </dgm:pt>
    <dgm:pt modelId="{65A59537-17CF-4E27-951A-05B8D64B48C5}" type="parTrans" cxnId="{6B576A7F-ADE4-41B2-8AF0-93FB4A5BD322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9B339E22-E9A4-419D-94F3-C9BA2915E9C8}" type="sibTrans" cxnId="{6B576A7F-ADE4-41B2-8AF0-93FB4A5BD322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614A93B2-B902-4D99-A9CB-6849EC02F934}">
      <dgm:prSet/>
      <dgm:spPr/>
      <dgm:t>
        <a:bodyPr/>
        <a:lstStyle/>
        <a:p>
          <a:r>
            <a:rPr lang="en-US">
              <a:latin typeface="Lato" panose="020F0502020204030203" pitchFamily="34" charset="0"/>
            </a:rPr>
            <a:t>Digitalisaation </a:t>
          </a:r>
          <a:r>
            <a:rPr lang="en-US" err="1">
              <a:latin typeface="Lato" panose="020F0502020204030203" pitchFamily="34" charset="0"/>
            </a:rPr>
            <a:t>johtamisen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toimintamalli</a:t>
          </a:r>
          <a:endParaRPr lang="fi-FI">
            <a:latin typeface="Lato" panose="020F0502020204030203" pitchFamily="34" charset="0"/>
          </a:endParaRPr>
        </a:p>
      </dgm:t>
    </dgm:pt>
    <dgm:pt modelId="{2EC6E365-782E-4121-98DA-41625A630DE9}" type="parTrans" cxnId="{3A12F4DC-BA46-4CF3-AD16-4F6FD4D6979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C5F9738F-8F06-4100-811B-97AF78A36C3A}" type="sibTrans" cxnId="{3A12F4DC-BA46-4CF3-AD16-4F6FD4D6979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65BD79D3-DA57-4481-B389-04B2C1D16158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Johtoryhmä ottaa johtamismallin käyttöön laatimalla digiohjelman</a:t>
          </a:r>
          <a:endParaRPr lang="fi-FI" b="0">
            <a:latin typeface="Lato" panose="020F0502020204030203" pitchFamily="34" charset="0"/>
          </a:endParaRPr>
        </a:p>
      </dgm:t>
    </dgm:pt>
    <dgm:pt modelId="{2CFE595A-9880-41EF-AE58-E8E615B7365B}" type="parTrans" cxnId="{79D510FC-4E8A-4398-95CC-DC082AC71A4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CC751B0E-7606-4FF4-9AB6-4A045E50DF24}" type="sibTrans" cxnId="{79D510FC-4E8A-4398-95CC-DC082AC71A4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B12B17DF-72DD-4F9C-83ED-4789E1356598}">
      <dgm:prSet/>
      <dgm:spPr/>
      <dgm:t>
        <a:bodyPr/>
        <a:lstStyle/>
        <a:p>
          <a:r>
            <a:rPr lang="fi-FI" i="0">
              <a:latin typeface="Lato" panose="020F0502020204030203" pitchFamily="34" charset="0"/>
            </a:rPr>
            <a:t>Digiohjelmassa määritetään tulevien vuosien digitalisaation kehitysaihiot teemoittain ja niille laaditaan karkea aikataulu</a:t>
          </a:r>
        </a:p>
      </dgm:t>
    </dgm:pt>
    <dgm:pt modelId="{41758B15-3702-45BF-81E7-699539C76D8C}" type="parTrans" cxnId="{A7C42E93-4293-453F-A4F5-64E02C200B25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0500ED1B-04AD-488C-A72C-500C3863EB10}" type="sibTrans" cxnId="{A7C42E93-4293-453F-A4F5-64E02C200B25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1F1935CD-2027-4F5A-866A-08C70BCAB350}">
      <dgm:prSet/>
      <dgm:spPr/>
      <dgm:t>
        <a:bodyPr/>
        <a:lstStyle/>
        <a:p>
          <a:r>
            <a:rPr lang="fi-FI" i="1">
              <a:solidFill>
                <a:srgbClr val="0089CF"/>
              </a:solidFill>
              <a:latin typeface="Lato" panose="020F0502020204030203" pitchFamily="34" charset="0"/>
            </a:rPr>
            <a:t>Tuotos: Digiohjelman 1. versio</a:t>
          </a:r>
          <a:endParaRPr lang="fi-FI">
            <a:solidFill>
              <a:srgbClr val="0089CF"/>
            </a:solidFill>
            <a:latin typeface="Lato" panose="020F0502020204030203" pitchFamily="34" charset="0"/>
          </a:endParaRPr>
        </a:p>
      </dgm:t>
    </dgm:pt>
    <dgm:pt modelId="{C03397D2-2D8B-4676-AF30-7A4D4C180518}" type="parTrans" cxnId="{3C4F69EE-49C3-4E73-9C13-1BEC606E0F7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3410B46C-C0C9-467F-9659-E4AF128A38B0}" type="sibTrans" cxnId="{3C4F69EE-49C3-4E73-9C13-1BEC606E0F7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B191087B-1396-49D4-B39A-583D7855B371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Työpaja 3, 24.2.2021</a:t>
          </a:r>
        </a:p>
      </dgm:t>
    </dgm:pt>
    <dgm:pt modelId="{1F654FE6-7407-4353-82E9-71B511667B4D}" type="parTrans" cxnId="{1319A8F4-9158-4ED5-BE7E-9B2797F13C07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43420671-5935-4987-9CF4-B19C6AF48D50}" type="sibTrans" cxnId="{1319A8F4-9158-4ED5-BE7E-9B2797F13C07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07440B1D-0B15-4774-9355-BBBD4D74583F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Nykytilan käsittely ja tärkeimmät teemojen valinta</a:t>
          </a:r>
        </a:p>
      </dgm:t>
    </dgm:pt>
    <dgm:pt modelId="{AD126687-7E18-43B4-AF83-8FF6FED2000C}" type="parTrans" cxnId="{28CC8686-189B-48DD-8A32-5FF46681A690}">
      <dgm:prSet/>
      <dgm:spPr/>
      <dgm:t>
        <a:bodyPr/>
        <a:lstStyle/>
        <a:p>
          <a:endParaRPr lang="fi-FI"/>
        </a:p>
      </dgm:t>
    </dgm:pt>
    <dgm:pt modelId="{956166AC-F92F-4695-88A5-9882F9D3E6B2}" type="sibTrans" cxnId="{28CC8686-189B-48DD-8A32-5FF46681A690}">
      <dgm:prSet/>
      <dgm:spPr/>
      <dgm:t>
        <a:bodyPr/>
        <a:lstStyle/>
        <a:p>
          <a:endParaRPr lang="fi-FI"/>
        </a:p>
      </dgm:t>
    </dgm:pt>
    <dgm:pt modelId="{DF663B90-23C2-4134-A253-FC9D2A900FE3}">
      <dgm:prSet/>
      <dgm:spPr/>
      <dgm:t>
        <a:bodyPr/>
        <a:lstStyle/>
        <a:p>
          <a:r>
            <a:rPr lang="fi-FI" i="1">
              <a:solidFill>
                <a:srgbClr val="0089CF"/>
              </a:solidFill>
              <a:latin typeface="Lato" panose="020F0502020204030203" pitchFamily="34" charset="0"/>
            </a:rPr>
            <a:t>Tuotos: Digitalisaation johtamismallin luonnos ja evästykset mallin kehittämiseksi</a:t>
          </a:r>
        </a:p>
      </dgm:t>
    </dgm:pt>
    <dgm:pt modelId="{F4F1F7D8-BB51-46F5-B86D-DBF27FEC2625}" type="parTrans" cxnId="{919AD398-6CD3-421C-BD3D-1F10B571AC65}">
      <dgm:prSet/>
      <dgm:spPr/>
      <dgm:t>
        <a:bodyPr/>
        <a:lstStyle/>
        <a:p>
          <a:endParaRPr lang="fi-FI"/>
        </a:p>
      </dgm:t>
    </dgm:pt>
    <dgm:pt modelId="{71A8398C-8888-472F-B02D-E077457BC3CC}" type="sibTrans" cxnId="{919AD398-6CD3-421C-BD3D-1F10B571AC65}">
      <dgm:prSet/>
      <dgm:spPr/>
      <dgm:t>
        <a:bodyPr/>
        <a:lstStyle/>
        <a:p>
          <a:endParaRPr lang="fi-FI"/>
        </a:p>
      </dgm:t>
    </dgm:pt>
    <dgm:pt modelId="{11FE01CB-0564-4239-BF3D-95794BFB8A55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ED6AA6D4-3A9B-414F-8843-8FA0E3A756C2}" type="parTrans" cxnId="{5DD7C30D-990B-4940-9597-D2C738029C46}">
      <dgm:prSet/>
      <dgm:spPr/>
      <dgm:t>
        <a:bodyPr/>
        <a:lstStyle/>
        <a:p>
          <a:endParaRPr lang="fi-FI"/>
        </a:p>
      </dgm:t>
    </dgm:pt>
    <dgm:pt modelId="{5E47DFBF-4A3C-4D46-BC15-E1B2C8CDA188}" type="sibTrans" cxnId="{5DD7C30D-990B-4940-9597-D2C738029C46}">
      <dgm:prSet/>
      <dgm:spPr/>
      <dgm:t>
        <a:bodyPr/>
        <a:lstStyle/>
        <a:p>
          <a:endParaRPr lang="fi-FI"/>
        </a:p>
      </dgm:t>
    </dgm:pt>
    <dgm:pt modelId="{B3D1B014-8711-4153-83A2-3CC220F08901}">
      <dgm:prSet/>
      <dgm:spPr/>
      <dgm:t>
        <a:bodyPr/>
        <a:lstStyle/>
        <a:p>
          <a:endParaRPr lang="fi-FI" i="1">
            <a:latin typeface="Lato" panose="020F0502020204030203" pitchFamily="34" charset="0"/>
          </a:endParaRPr>
        </a:p>
      </dgm:t>
    </dgm:pt>
    <dgm:pt modelId="{B63443CD-C89A-492B-AEA0-5C950A45C08F}" type="parTrans" cxnId="{646889DA-5376-4777-BC8A-31C0CFD856C1}">
      <dgm:prSet/>
      <dgm:spPr/>
      <dgm:t>
        <a:bodyPr/>
        <a:lstStyle/>
        <a:p>
          <a:endParaRPr lang="fi-FI"/>
        </a:p>
      </dgm:t>
    </dgm:pt>
    <dgm:pt modelId="{41D3B400-811C-48FC-BFD7-3E3FAE2A2DC5}" type="sibTrans" cxnId="{646889DA-5376-4777-BC8A-31C0CFD856C1}">
      <dgm:prSet/>
      <dgm:spPr/>
      <dgm:t>
        <a:bodyPr/>
        <a:lstStyle/>
        <a:p>
          <a:endParaRPr lang="fi-FI"/>
        </a:p>
      </dgm:t>
    </dgm:pt>
    <dgm:pt modelId="{7ECD6824-30E7-49AF-9DA4-B49ECDA323C5}">
      <dgm:prSet/>
      <dgm:spPr/>
      <dgm:t>
        <a:bodyPr/>
        <a:lstStyle/>
        <a:p>
          <a:r>
            <a:rPr lang="fi-FI" i="1">
              <a:solidFill>
                <a:srgbClr val="0089CF"/>
              </a:solidFill>
              <a:latin typeface="Lato" panose="020F0502020204030203" pitchFamily="34" charset="0"/>
            </a:rPr>
            <a:t>Tuotos: Yhteenveto johtoryhmän näkemyksistä ja tavoitteista </a:t>
          </a:r>
          <a:r>
            <a:rPr lang="fi-FI" i="1" err="1">
              <a:solidFill>
                <a:srgbClr val="0089CF"/>
              </a:solidFill>
              <a:latin typeface="Lato" panose="020F0502020204030203" pitchFamily="34" charset="0"/>
            </a:rPr>
            <a:t>digitalisaatiolle</a:t>
          </a:r>
          <a:endParaRPr lang="fi-FI" i="1">
            <a:solidFill>
              <a:srgbClr val="0089CF"/>
            </a:solidFill>
            <a:latin typeface="Lato" panose="020F0502020204030203" pitchFamily="34" charset="0"/>
          </a:endParaRPr>
        </a:p>
      </dgm:t>
    </dgm:pt>
    <dgm:pt modelId="{0A727F5D-81B5-4976-840D-1C5E75F551FA}" type="parTrans" cxnId="{5B952505-4BC7-4DC0-8FDA-683C3174886F}">
      <dgm:prSet/>
      <dgm:spPr/>
      <dgm:t>
        <a:bodyPr/>
        <a:lstStyle/>
        <a:p>
          <a:endParaRPr lang="fi-FI"/>
        </a:p>
      </dgm:t>
    </dgm:pt>
    <dgm:pt modelId="{54BFF8E6-0D7B-4088-8071-460C2EB920C9}" type="sibTrans" cxnId="{5B952505-4BC7-4DC0-8FDA-683C3174886F}">
      <dgm:prSet/>
      <dgm:spPr/>
      <dgm:t>
        <a:bodyPr/>
        <a:lstStyle/>
        <a:p>
          <a:endParaRPr lang="fi-FI"/>
        </a:p>
      </dgm:t>
    </dgm:pt>
    <dgm:pt modelId="{720595BD-CB49-4B55-B936-D8131531B8A7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676F7AEC-BF2E-44E8-9F03-5DC366D1724C}" type="parTrans" cxnId="{492B244C-B221-43F1-B281-BE539C623407}">
      <dgm:prSet/>
      <dgm:spPr/>
      <dgm:t>
        <a:bodyPr/>
        <a:lstStyle/>
        <a:p>
          <a:endParaRPr lang="fi-FI"/>
        </a:p>
      </dgm:t>
    </dgm:pt>
    <dgm:pt modelId="{5243DB7E-24ED-4D42-A53A-4EECFCD46CFF}" type="sibTrans" cxnId="{492B244C-B221-43F1-B281-BE539C623407}">
      <dgm:prSet/>
      <dgm:spPr/>
      <dgm:t>
        <a:bodyPr/>
        <a:lstStyle/>
        <a:p>
          <a:endParaRPr lang="fi-FI"/>
        </a:p>
      </dgm:t>
    </dgm:pt>
    <dgm:pt modelId="{E440DFDB-21C9-4CA8-B756-91393F5197FE}">
      <dgm:prSet/>
      <dgm:spPr/>
      <dgm:t>
        <a:bodyPr/>
        <a:lstStyle/>
        <a:p>
          <a:r>
            <a:rPr lang="en-US" err="1">
              <a:latin typeface="Lato" panose="020F0502020204030203" pitchFamily="34" charset="0"/>
            </a:rPr>
            <a:t>Luonnoksen</a:t>
          </a:r>
          <a:r>
            <a:rPr lang="en-US">
              <a:latin typeface="Lato" panose="020F0502020204030203" pitchFamily="34" charset="0"/>
            </a:rPr>
            <a:t> </a:t>
          </a:r>
          <a:r>
            <a:rPr lang="en-US" err="1">
              <a:latin typeface="Lato" panose="020F0502020204030203" pitchFamily="34" charset="0"/>
            </a:rPr>
            <a:t>läpikäynti</a:t>
          </a:r>
          <a:r>
            <a:rPr lang="en-US">
              <a:latin typeface="Lato" panose="020F0502020204030203" pitchFamily="34" charset="0"/>
            </a:rPr>
            <a:t> ja </a:t>
          </a:r>
          <a:r>
            <a:rPr lang="en-US" err="1">
              <a:latin typeface="Lato" panose="020F0502020204030203" pitchFamily="34" charset="0"/>
            </a:rPr>
            <a:t>konkretisointi</a:t>
          </a:r>
          <a:endParaRPr lang="fi-FI">
            <a:latin typeface="Lato" panose="020F0502020204030203" pitchFamily="34" charset="0"/>
          </a:endParaRPr>
        </a:p>
      </dgm:t>
    </dgm:pt>
    <dgm:pt modelId="{A7CC1193-E0A5-47AE-A842-A94D01D73BB9}" type="parTrans" cxnId="{336253E9-2251-4A15-8A04-F08C95729CD8}">
      <dgm:prSet/>
      <dgm:spPr/>
      <dgm:t>
        <a:bodyPr/>
        <a:lstStyle/>
        <a:p>
          <a:endParaRPr lang="fi-FI"/>
        </a:p>
      </dgm:t>
    </dgm:pt>
    <dgm:pt modelId="{5667A1FE-15FE-459C-A144-59D64E1BABEA}" type="sibTrans" cxnId="{336253E9-2251-4A15-8A04-F08C95729CD8}">
      <dgm:prSet/>
      <dgm:spPr/>
      <dgm:t>
        <a:bodyPr/>
        <a:lstStyle/>
        <a:p>
          <a:endParaRPr lang="fi-FI"/>
        </a:p>
      </dgm:t>
    </dgm:pt>
    <dgm:pt modelId="{633F9430-A235-4818-9DCE-AC8749B7246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B4CDEBEB-10B4-4900-9F0B-45D30916989D}" type="parTrans" cxnId="{155FE03E-98FE-4042-A092-1D213D70FE45}">
      <dgm:prSet/>
      <dgm:spPr/>
      <dgm:t>
        <a:bodyPr/>
        <a:lstStyle/>
        <a:p>
          <a:endParaRPr lang="fi-FI"/>
        </a:p>
      </dgm:t>
    </dgm:pt>
    <dgm:pt modelId="{086A7D93-86CA-4241-A834-2376C10165B9}" type="sibTrans" cxnId="{155FE03E-98FE-4042-A092-1D213D70FE45}">
      <dgm:prSet/>
      <dgm:spPr/>
      <dgm:t>
        <a:bodyPr/>
        <a:lstStyle/>
        <a:p>
          <a:endParaRPr lang="fi-FI"/>
        </a:p>
      </dgm:t>
    </dgm:pt>
    <dgm:pt modelId="{855F2CCF-89CA-42A7-AAEB-ADDCBD985278}">
      <dgm:prSet/>
      <dgm:spPr/>
      <dgm:t>
        <a:bodyPr/>
        <a:lstStyle/>
        <a:p>
          <a:r>
            <a:rPr lang="fi-FI">
              <a:solidFill>
                <a:schemeClr val="bg1"/>
              </a:solidFill>
              <a:latin typeface="Lato" panose="020F0502020204030203" pitchFamily="34" charset="0"/>
            </a:rPr>
            <a:t>Johtoryhmäkäsittely, 5.5.2021</a:t>
          </a:r>
        </a:p>
      </dgm:t>
    </dgm:pt>
    <dgm:pt modelId="{100B1812-FEA9-48DB-90A0-58CD951120A8}" type="parTrans" cxnId="{FC281EB8-BA65-42AC-A43C-437402F3BC4A}">
      <dgm:prSet/>
      <dgm:spPr/>
      <dgm:t>
        <a:bodyPr/>
        <a:lstStyle/>
        <a:p>
          <a:endParaRPr lang="fi-FI"/>
        </a:p>
      </dgm:t>
    </dgm:pt>
    <dgm:pt modelId="{4219EE1B-85CD-420A-A99B-01F45B530D62}" type="sibTrans" cxnId="{FC281EB8-BA65-42AC-A43C-437402F3BC4A}">
      <dgm:prSet/>
      <dgm:spPr/>
      <dgm:t>
        <a:bodyPr/>
        <a:lstStyle/>
        <a:p>
          <a:endParaRPr lang="fi-FI"/>
        </a:p>
      </dgm:t>
    </dgm:pt>
    <dgm:pt modelId="{ECB5D093-D993-45A9-A603-CA0AD6FD11D1}">
      <dgm:prSet/>
      <dgm:spPr/>
      <dgm:t>
        <a:bodyPr/>
        <a:lstStyle/>
        <a:p>
          <a:r>
            <a:rPr lang="fi-FI" i="1">
              <a:solidFill>
                <a:srgbClr val="0089CF"/>
              </a:solidFill>
              <a:latin typeface="Lato" panose="020F0502020204030203" pitchFamily="34" charset="0"/>
            </a:rPr>
            <a:t>Tuotos: Hyväksytty digiohjelma</a:t>
          </a:r>
        </a:p>
      </dgm:t>
    </dgm:pt>
    <dgm:pt modelId="{5E349BFF-9DCA-4D85-9CB1-EC3473E93C2F}" type="parTrans" cxnId="{19C8F1E3-286B-4328-87BB-78262DA7956C}">
      <dgm:prSet/>
      <dgm:spPr/>
      <dgm:t>
        <a:bodyPr/>
        <a:lstStyle/>
        <a:p>
          <a:endParaRPr lang="fi-FI"/>
        </a:p>
      </dgm:t>
    </dgm:pt>
    <dgm:pt modelId="{CFB39B16-02DE-4AC3-8146-6583E29A5380}" type="sibTrans" cxnId="{19C8F1E3-286B-4328-87BB-78262DA7956C}">
      <dgm:prSet/>
      <dgm:spPr/>
      <dgm:t>
        <a:bodyPr/>
        <a:lstStyle/>
        <a:p>
          <a:endParaRPr lang="fi-FI"/>
        </a:p>
      </dgm:t>
    </dgm:pt>
    <dgm:pt modelId="{65C2322D-5F8B-4D1D-9F20-F88A93FDC917}">
      <dgm:prSet/>
      <dgm:spPr/>
      <dgm:t>
        <a:bodyPr/>
        <a:lstStyle/>
        <a:p>
          <a:r>
            <a:rPr lang="fi-FI">
              <a:solidFill>
                <a:schemeClr val="tx1"/>
              </a:solidFill>
              <a:latin typeface="Lato" panose="020F0502020204030203" pitchFamily="34" charset="0"/>
            </a:rPr>
            <a:t>Digiohjelman kehitysaihioiden tarkastelu ja priorisointi</a:t>
          </a:r>
        </a:p>
      </dgm:t>
    </dgm:pt>
    <dgm:pt modelId="{0F4D41B5-9D20-4DC2-86A7-DFAB87E5944E}" type="parTrans" cxnId="{D71866F2-4C67-4357-8EF4-B9EE03A462AE}">
      <dgm:prSet/>
      <dgm:spPr/>
      <dgm:t>
        <a:bodyPr/>
        <a:lstStyle/>
        <a:p>
          <a:endParaRPr lang="fi-FI"/>
        </a:p>
      </dgm:t>
    </dgm:pt>
    <dgm:pt modelId="{3ED4A30B-5832-4F60-9205-A8D7B72E312B}" type="sibTrans" cxnId="{D71866F2-4C67-4357-8EF4-B9EE03A462AE}">
      <dgm:prSet/>
      <dgm:spPr/>
      <dgm:t>
        <a:bodyPr/>
        <a:lstStyle/>
        <a:p>
          <a:endParaRPr lang="fi-FI"/>
        </a:p>
      </dgm:t>
    </dgm:pt>
    <dgm:pt modelId="{A47554A5-DD4B-4629-87BC-4D1A0857CD5B}">
      <dgm:prSet/>
      <dgm:spPr/>
      <dgm:t>
        <a:bodyPr/>
        <a:lstStyle/>
        <a:p>
          <a:endParaRPr lang="fi-FI">
            <a:solidFill>
              <a:srgbClr val="0089CF"/>
            </a:solidFill>
            <a:latin typeface="Lato" panose="020F0502020204030203" pitchFamily="34" charset="0"/>
          </a:endParaRPr>
        </a:p>
      </dgm:t>
    </dgm:pt>
    <dgm:pt modelId="{E4BAE233-D87D-46C1-9E11-6EBE9DB2B8FA}" type="parTrans" cxnId="{99614347-5740-4CB0-A151-A0C6FBC5087C}">
      <dgm:prSet/>
      <dgm:spPr/>
      <dgm:t>
        <a:bodyPr/>
        <a:lstStyle/>
        <a:p>
          <a:endParaRPr lang="fi-FI"/>
        </a:p>
      </dgm:t>
    </dgm:pt>
    <dgm:pt modelId="{9DB3173A-5547-4A4C-A0E5-E5E94245E34C}" type="sibTrans" cxnId="{99614347-5740-4CB0-A151-A0C6FBC5087C}">
      <dgm:prSet/>
      <dgm:spPr/>
      <dgm:t>
        <a:bodyPr/>
        <a:lstStyle/>
        <a:p>
          <a:endParaRPr lang="fi-FI"/>
        </a:p>
      </dgm:t>
    </dgm:pt>
    <dgm:pt modelId="{0ECC23F0-4B38-4C46-8C8B-A3B7829A8B2E}" type="pres">
      <dgm:prSet presAssocID="{DBA8D1A3-9458-4F2B-98CC-F395F9539EF3}" presName="Name0" presStyleCnt="0">
        <dgm:presLayoutVars>
          <dgm:dir/>
          <dgm:animLvl val="lvl"/>
          <dgm:resizeHandles val="exact"/>
        </dgm:presLayoutVars>
      </dgm:prSet>
      <dgm:spPr/>
    </dgm:pt>
    <dgm:pt modelId="{304E824A-5BCA-4A80-AA02-29C98AA085FC}" type="pres">
      <dgm:prSet presAssocID="{8552FB84-B9A2-4BFD-A625-B5A8DDB8C040}" presName="composite" presStyleCnt="0"/>
      <dgm:spPr/>
    </dgm:pt>
    <dgm:pt modelId="{1C8E2646-3F98-4754-85E5-8604745334D7}" type="pres">
      <dgm:prSet presAssocID="{8552FB84-B9A2-4BFD-A625-B5A8DDB8C040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322A30F6-AEB2-4006-85AA-F5C8BD43E401}" type="pres">
      <dgm:prSet presAssocID="{8552FB84-B9A2-4BFD-A625-B5A8DDB8C040}" presName="desTx" presStyleLbl="revTx" presStyleIdx="0" presStyleCnt="5">
        <dgm:presLayoutVars>
          <dgm:bulletEnabled val="1"/>
        </dgm:presLayoutVars>
      </dgm:prSet>
      <dgm:spPr/>
    </dgm:pt>
    <dgm:pt modelId="{3A009F1A-46F6-4F90-BB70-F3FCD95F581A}" type="pres">
      <dgm:prSet presAssocID="{3881DC69-E7C6-4F97-9E4E-CACE8FA970E2}" presName="space" presStyleCnt="0"/>
      <dgm:spPr/>
    </dgm:pt>
    <dgm:pt modelId="{A6A1D84C-CE7F-4DCA-A48B-9BD31A9890CA}" type="pres">
      <dgm:prSet presAssocID="{ACA1677A-885D-4051-8FB8-7795A2650025}" presName="composite" presStyleCnt="0"/>
      <dgm:spPr/>
    </dgm:pt>
    <dgm:pt modelId="{2D9A3538-BABD-47BA-8131-41D110A5C4B1}" type="pres">
      <dgm:prSet presAssocID="{ACA1677A-885D-4051-8FB8-7795A2650025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DAE5E54F-0385-4BB8-8434-8244DE2E0164}" type="pres">
      <dgm:prSet presAssocID="{ACA1677A-885D-4051-8FB8-7795A2650025}" presName="desTx" presStyleLbl="revTx" presStyleIdx="1" presStyleCnt="5">
        <dgm:presLayoutVars>
          <dgm:bulletEnabled val="1"/>
        </dgm:presLayoutVars>
      </dgm:prSet>
      <dgm:spPr/>
    </dgm:pt>
    <dgm:pt modelId="{B860F87C-13D2-40CA-8D96-885303167D7C}" type="pres">
      <dgm:prSet presAssocID="{4205D4FA-5033-41A3-A8CF-C5C2E4877D6C}" presName="space" presStyleCnt="0"/>
      <dgm:spPr/>
    </dgm:pt>
    <dgm:pt modelId="{A9772D60-7A6A-4F7A-AEB8-590CB859D725}" type="pres">
      <dgm:prSet presAssocID="{A46F5FCE-4553-46B5-A20D-89592DABE2A0}" presName="composite" presStyleCnt="0"/>
      <dgm:spPr/>
    </dgm:pt>
    <dgm:pt modelId="{5D50BB4D-C56E-4875-BF76-8336128782A3}" type="pres">
      <dgm:prSet presAssocID="{A46F5FCE-4553-46B5-A20D-89592DABE2A0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FE794F0F-ED3A-4A3E-BD5C-A5CAAF54700E}" type="pres">
      <dgm:prSet presAssocID="{A46F5FCE-4553-46B5-A20D-89592DABE2A0}" presName="desTx" presStyleLbl="revTx" presStyleIdx="2" presStyleCnt="5">
        <dgm:presLayoutVars>
          <dgm:bulletEnabled val="1"/>
        </dgm:presLayoutVars>
      </dgm:prSet>
      <dgm:spPr/>
    </dgm:pt>
    <dgm:pt modelId="{6DFD2709-5DC0-49A9-8B83-E39CD06D8766}" type="pres">
      <dgm:prSet presAssocID="{39515E9D-EF8B-4A85-9D22-D7E5E122A348}" presName="space" presStyleCnt="0"/>
      <dgm:spPr/>
    </dgm:pt>
    <dgm:pt modelId="{635EDAAA-5AF6-40D5-A829-ADBECDCAD4D5}" type="pres">
      <dgm:prSet presAssocID="{B191087B-1396-49D4-B39A-583D7855B371}" presName="composite" presStyleCnt="0"/>
      <dgm:spPr/>
    </dgm:pt>
    <dgm:pt modelId="{AC4DCF85-E913-4ED7-B22D-47DF43E7B33F}" type="pres">
      <dgm:prSet presAssocID="{B191087B-1396-49D4-B39A-583D7855B371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EFC47D73-6FD2-4902-B7F5-720E1F1F9DD7}" type="pres">
      <dgm:prSet presAssocID="{B191087B-1396-49D4-B39A-583D7855B371}" presName="desTx" presStyleLbl="revTx" presStyleIdx="3" presStyleCnt="5">
        <dgm:presLayoutVars>
          <dgm:bulletEnabled val="1"/>
        </dgm:presLayoutVars>
      </dgm:prSet>
      <dgm:spPr/>
    </dgm:pt>
    <dgm:pt modelId="{72183952-ECE9-41A5-9A84-E32D143F57D4}" type="pres">
      <dgm:prSet presAssocID="{43420671-5935-4987-9CF4-B19C6AF48D50}" presName="space" presStyleCnt="0"/>
      <dgm:spPr/>
    </dgm:pt>
    <dgm:pt modelId="{55E6E8F3-EAE8-4CBC-AAD9-13CC332DFBB9}" type="pres">
      <dgm:prSet presAssocID="{855F2CCF-89CA-42A7-AAEB-ADDCBD985278}" presName="composite" presStyleCnt="0"/>
      <dgm:spPr/>
    </dgm:pt>
    <dgm:pt modelId="{F16A14EA-1129-4510-AAE7-817ADADC08E6}" type="pres">
      <dgm:prSet presAssocID="{855F2CCF-89CA-42A7-AAEB-ADDCBD985278}" presName="par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1494E4F7-2DB1-4EC4-8BBD-E9287F7C50B7}" type="pres">
      <dgm:prSet presAssocID="{855F2CCF-89CA-42A7-AAEB-ADDCBD985278}" presName="desTx" presStyleLbl="revTx" presStyleIdx="4" presStyleCnt="5">
        <dgm:presLayoutVars>
          <dgm:bulletEnabled val="1"/>
        </dgm:presLayoutVars>
      </dgm:prSet>
      <dgm:spPr/>
    </dgm:pt>
  </dgm:ptLst>
  <dgm:cxnLst>
    <dgm:cxn modelId="{5B952505-4BC7-4DC0-8FDA-683C3174886F}" srcId="{8552FB84-B9A2-4BFD-A625-B5A8DDB8C040}" destId="{7ECD6824-30E7-49AF-9DA4-B49ECDA323C5}" srcOrd="4" destOrd="0" parTransId="{0A727F5D-81B5-4976-840D-1C5E75F551FA}" sibTransId="{54BFF8E6-0D7B-4088-8071-460C2EB920C9}"/>
    <dgm:cxn modelId="{5DD7C30D-990B-4940-9597-D2C738029C46}" srcId="{B191087B-1396-49D4-B39A-583D7855B371}" destId="{11FE01CB-0564-4239-BF3D-95794BFB8A55}" srcOrd="2" destOrd="0" parTransId="{ED6AA6D4-3A9B-414F-8843-8FA0E3A756C2}" sibTransId="{5E47DFBF-4A3C-4D46-BC15-E1B2C8CDA188}"/>
    <dgm:cxn modelId="{8B79E211-AAA8-40F8-A0B6-3B5771F70EEB}" type="presOf" srcId="{D33CB04C-35F6-49E6-8A3D-3A7F08CC33AC}" destId="{FE794F0F-ED3A-4A3E-BD5C-A5CAAF54700E}" srcOrd="0" destOrd="1" presId="urn:microsoft.com/office/officeart/2005/8/layout/chevron1"/>
    <dgm:cxn modelId="{93442A16-00E3-4ED8-B208-07404EE2DF09}" type="presOf" srcId="{4F74E5FB-30F4-4D45-B516-1023B1000ACB}" destId="{FE794F0F-ED3A-4A3E-BD5C-A5CAAF54700E}" srcOrd="0" destOrd="0" presId="urn:microsoft.com/office/officeart/2005/8/layout/chevron1"/>
    <dgm:cxn modelId="{D6F09A17-BE4C-4754-966B-A78642B3E369}" type="presOf" srcId="{DF663B90-23C2-4134-A253-FC9D2A900FE3}" destId="{FE794F0F-ED3A-4A3E-BD5C-A5CAAF54700E}" srcOrd="0" destOrd="6" presId="urn:microsoft.com/office/officeart/2005/8/layout/chevron1"/>
    <dgm:cxn modelId="{FA3B3019-98F0-4E4D-B2D9-0AE81D1A82C6}" type="presOf" srcId="{DBA8D1A3-9458-4F2B-98CC-F395F9539EF3}" destId="{0ECC23F0-4B38-4C46-8C8B-A3B7829A8B2E}" srcOrd="0" destOrd="0" presId="urn:microsoft.com/office/officeart/2005/8/layout/chevron1"/>
    <dgm:cxn modelId="{6C9C4A1E-5091-4D3B-9CAD-3AADFFE15B09}" srcId="{A46F5FCE-4553-46B5-A20D-89592DABE2A0}" destId="{4F74E5FB-30F4-4D45-B516-1023B1000ACB}" srcOrd="0" destOrd="0" parTransId="{5D13FCF5-D7E6-4792-98E3-F23B0A5C3E7D}" sibTransId="{82289073-CD86-499A-9468-AB9790E0CD02}"/>
    <dgm:cxn modelId="{3F353323-76FF-4B43-A5E4-85C91EC6C2A8}" type="presOf" srcId="{07440B1D-0B15-4774-9355-BBBD4D74583F}" destId="{DAE5E54F-0385-4BB8-8434-8244DE2E0164}" srcOrd="0" destOrd="2" presId="urn:microsoft.com/office/officeart/2005/8/layout/chevron1"/>
    <dgm:cxn modelId="{07829827-A1D7-4D54-8062-162A1AA13326}" type="presOf" srcId="{949D4113-2236-4E65-B31F-4EB3E3BDDC81}" destId="{322A30F6-AEB2-4006-85AA-F5C8BD43E401}" srcOrd="0" destOrd="0" presId="urn:microsoft.com/office/officeart/2005/8/layout/chevron1"/>
    <dgm:cxn modelId="{C1D3BF3D-E582-4D19-AFD6-BCD3A50F73A4}" srcId="{DBA8D1A3-9458-4F2B-98CC-F395F9539EF3}" destId="{ACA1677A-885D-4051-8FB8-7795A2650025}" srcOrd="1" destOrd="0" parTransId="{AD167618-ADE2-4BAB-A2BE-B18019E03F0E}" sibTransId="{4205D4FA-5033-41A3-A8CF-C5C2E4877D6C}"/>
    <dgm:cxn modelId="{155FE03E-98FE-4042-A092-1D213D70FE45}" srcId="{8552FB84-B9A2-4BFD-A625-B5A8DDB8C040}" destId="{633F9430-A235-4818-9DCE-AC8749B72464}" srcOrd="3" destOrd="0" parTransId="{B4CDEBEB-10B4-4900-9F0B-45D30916989D}" sibTransId="{086A7D93-86CA-4241-A834-2376C10165B9}"/>
    <dgm:cxn modelId="{32268240-2411-4C74-946D-EF79BF5D0C56}" type="presOf" srcId="{8552FB84-B9A2-4BFD-A625-B5A8DDB8C040}" destId="{1C8E2646-3F98-4754-85E5-8604745334D7}" srcOrd="0" destOrd="0" presId="urn:microsoft.com/office/officeart/2005/8/layout/chevron1"/>
    <dgm:cxn modelId="{EC57E943-43AE-4773-9864-C30D6391836B}" type="presOf" srcId="{27B3197C-2A48-4459-AC10-34C8C72E724D}" destId="{322A30F6-AEB2-4006-85AA-F5C8BD43E401}" srcOrd="0" destOrd="3" presId="urn:microsoft.com/office/officeart/2005/8/layout/chevron1"/>
    <dgm:cxn modelId="{62888945-9D64-4A94-8B5F-72170ABAAF85}" srcId="{ACA1677A-885D-4051-8FB8-7795A2650025}" destId="{746EDFAD-9080-430D-9B45-A285419A3E74}" srcOrd="2" destOrd="0" parTransId="{C35EC999-97E0-4033-8514-DD30200EBD49}" sibTransId="{3F1AE542-7425-4B3A-9B1C-8228B25B80FC}"/>
    <dgm:cxn modelId="{99614347-5740-4CB0-A151-A0C6FBC5087C}" srcId="{855F2CCF-89CA-42A7-AAEB-ADDCBD985278}" destId="{A47554A5-DD4B-4629-87BC-4D1A0857CD5B}" srcOrd="1" destOrd="0" parTransId="{E4BAE233-D87D-46C1-9E11-6EBE9DB2B8FA}" sibTransId="{9DB3173A-5547-4A4C-A0E5-E5E94245E34C}"/>
    <dgm:cxn modelId="{4A40C467-93CB-4FE1-9C02-C766D78E59F5}" type="presOf" srcId="{E440DFDB-21C9-4CA8-B756-91393F5197FE}" destId="{FE794F0F-ED3A-4A3E-BD5C-A5CAAF54700E}" srcOrd="0" destOrd="4" presId="urn:microsoft.com/office/officeart/2005/8/layout/chevron1"/>
    <dgm:cxn modelId="{17EA5D4B-E704-418F-BCBE-4572F221DA4F}" type="presOf" srcId="{4FC7A1E0-FB11-4FCC-828C-E814F2C4DD54}" destId="{DAE5E54F-0385-4BB8-8434-8244DE2E0164}" srcOrd="0" destOrd="1" presId="urn:microsoft.com/office/officeart/2005/8/layout/chevron1"/>
    <dgm:cxn modelId="{492B244C-B221-43F1-B281-BE539C623407}" srcId="{ACA1677A-885D-4051-8FB8-7795A2650025}" destId="{720595BD-CB49-4B55-B936-D8131531B8A7}" srcOrd="1" destOrd="0" parTransId="{676F7AEC-BF2E-44E8-9F03-5DC366D1724C}" sibTransId="{5243DB7E-24ED-4D42-A53A-4EECFCD46CFF}"/>
    <dgm:cxn modelId="{587D734E-4B29-46A1-A935-BABD892C6349}" type="presOf" srcId="{B191087B-1396-49D4-B39A-583D7855B371}" destId="{AC4DCF85-E913-4ED7-B22D-47DF43E7B33F}" srcOrd="0" destOrd="0" presId="urn:microsoft.com/office/officeart/2005/8/layout/chevron1"/>
    <dgm:cxn modelId="{BC99E04E-6B2F-436B-9CED-5F86EA031538}" srcId="{ACA1677A-885D-4051-8FB8-7795A2650025}" destId="{0C49990A-F575-4F40-9AE5-9BCC76BAA697}" srcOrd="0" destOrd="0" parTransId="{9584E447-E9CB-432F-ADF3-19921E24AF22}" sibTransId="{673EAC13-D397-4785-8984-0BD8AB0BF404}"/>
    <dgm:cxn modelId="{B93AB54F-4BFF-43CA-8126-667F8617A4D6}" type="presOf" srcId="{633F9430-A235-4818-9DCE-AC8749B72464}" destId="{322A30F6-AEB2-4006-85AA-F5C8BD43E401}" srcOrd="0" destOrd="4" presId="urn:microsoft.com/office/officeart/2005/8/layout/chevron1"/>
    <dgm:cxn modelId="{0727FF6F-DA9B-463B-A0A7-A1DE0AD99B62}" srcId="{7B01E5D5-B1E4-4521-9BA9-B93AC7BD0AF8}" destId="{8D28BA29-4F28-4EF8-8FC3-E6A33FF3EFA1}" srcOrd="0" destOrd="0" parTransId="{72938994-2F4D-4EED-A56A-441E9B50D277}" sibTransId="{9F5FFCBD-BB7D-479E-B74D-F8BAB3F25EE6}"/>
    <dgm:cxn modelId="{3D084176-69D9-405E-9536-D256ADECA986}" type="presOf" srcId="{8D28BA29-4F28-4EF8-8FC3-E6A33FF3EFA1}" destId="{322A30F6-AEB2-4006-85AA-F5C8BD43E401}" srcOrd="0" destOrd="2" presId="urn:microsoft.com/office/officeart/2005/8/layout/chevron1"/>
    <dgm:cxn modelId="{75A1DB76-FB86-4CEC-A9ED-BEC72E07EE19}" srcId="{DBA8D1A3-9458-4F2B-98CC-F395F9539EF3}" destId="{A46F5FCE-4553-46B5-A20D-89592DABE2A0}" srcOrd="2" destOrd="0" parTransId="{43E887A4-32F3-46A7-88E0-7BBD6F5B9112}" sibTransId="{39515E9D-EF8B-4A85-9D22-D7E5E122A348}"/>
    <dgm:cxn modelId="{203FA07A-91D6-4AB7-984E-4F89FC97D85F}" type="presOf" srcId="{65BD79D3-DA57-4481-B389-04B2C1D16158}" destId="{EFC47D73-6FD2-4902-B7F5-720E1F1F9DD7}" srcOrd="0" destOrd="0" presId="urn:microsoft.com/office/officeart/2005/8/layout/chevron1"/>
    <dgm:cxn modelId="{4354B57B-9D66-460A-AEA3-05309A5E79A6}" srcId="{A46F5FCE-4553-46B5-A20D-89592DABE2A0}" destId="{D33CB04C-35F6-49E6-8A3D-3A7F08CC33AC}" srcOrd="1" destOrd="0" parTransId="{7D083682-C73E-47F0-8632-5A637BE352C7}" sibTransId="{BCE96B49-2556-475A-9089-05F32B07F35B}"/>
    <dgm:cxn modelId="{B621987E-A391-4488-9D0E-7CF5D3C8096C}" type="presOf" srcId="{B12B17DF-72DD-4F9C-83ED-4789E1356598}" destId="{EFC47D73-6FD2-4902-B7F5-720E1F1F9DD7}" srcOrd="0" destOrd="1" presId="urn:microsoft.com/office/officeart/2005/8/layout/chevron1"/>
    <dgm:cxn modelId="{6B576A7F-ADE4-41B2-8AF0-93FB4A5BD322}" srcId="{D33CB04C-35F6-49E6-8A3D-3A7F08CC33AC}" destId="{B925386C-2DA4-4BCD-B4E4-8DA961B09877}" srcOrd="0" destOrd="0" parTransId="{65A59537-17CF-4E27-951A-05B8D64B48C5}" sibTransId="{9B339E22-E9A4-419D-94F3-C9BA2915E9C8}"/>
    <dgm:cxn modelId="{59F8BC80-0E09-42B9-AC43-4A4B411C3A4B}" srcId="{8552FB84-B9A2-4BFD-A625-B5A8DDB8C040}" destId="{27B3197C-2A48-4459-AC10-34C8C72E724D}" srcOrd="2" destOrd="0" parTransId="{DA088C63-6204-4184-8258-8DEFAD9FB39B}" sibTransId="{CE737FBB-7932-4B1B-AA73-A557B8448424}"/>
    <dgm:cxn modelId="{F0D28683-B15A-438B-904E-BF5179DAD751}" type="presOf" srcId="{ACA1677A-885D-4051-8FB8-7795A2650025}" destId="{2D9A3538-BABD-47BA-8131-41D110A5C4B1}" srcOrd="0" destOrd="0" presId="urn:microsoft.com/office/officeart/2005/8/layout/chevron1"/>
    <dgm:cxn modelId="{28CC8686-189B-48DD-8A32-5FF46681A690}" srcId="{0C49990A-F575-4F40-9AE5-9BCC76BAA697}" destId="{07440B1D-0B15-4774-9355-BBBD4D74583F}" srcOrd="1" destOrd="0" parTransId="{AD126687-7E18-43B4-AF83-8FF6FED2000C}" sibTransId="{956166AC-F92F-4695-88A5-9882F9D3E6B2}"/>
    <dgm:cxn modelId="{CEF54C87-322A-455F-A4DA-C4A1FCD4A37B}" type="presOf" srcId="{7B01E5D5-B1E4-4521-9BA9-B93AC7BD0AF8}" destId="{322A30F6-AEB2-4006-85AA-F5C8BD43E401}" srcOrd="0" destOrd="1" presId="urn:microsoft.com/office/officeart/2005/8/layout/chevron1"/>
    <dgm:cxn modelId="{92BA9B8A-50FB-490C-B4D6-1E01B615CD53}" srcId="{8552FB84-B9A2-4BFD-A625-B5A8DDB8C040}" destId="{7B01E5D5-B1E4-4521-9BA9-B93AC7BD0AF8}" srcOrd="1" destOrd="0" parTransId="{2EAAC17E-6E4D-4ADE-8697-7E2401E73C76}" sibTransId="{824375AD-2424-4663-A95B-79B01DBFA748}"/>
    <dgm:cxn modelId="{936FEE8A-51C5-418F-ABE0-3E47DFD2BED8}" type="presOf" srcId="{1F1935CD-2027-4F5A-866A-08C70BCAB350}" destId="{EFC47D73-6FD2-4902-B7F5-720E1F1F9DD7}" srcOrd="0" destOrd="3" presId="urn:microsoft.com/office/officeart/2005/8/layout/chevron1"/>
    <dgm:cxn modelId="{350DF58A-3F98-438F-B19E-D0D33D39F197}" type="presOf" srcId="{B925386C-2DA4-4BCD-B4E4-8DA961B09877}" destId="{FE794F0F-ED3A-4A3E-BD5C-A5CAAF54700E}" srcOrd="0" destOrd="2" presId="urn:microsoft.com/office/officeart/2005/8/layout/chevron1"/>
    <dgm:cxn modelId="{50259990-04E0-4961-B5D7-7C78FF2D3301}" type="presOf" srcId="{65C2322D-5F8B-4D1D-9F20-F88A93FDC917}" destId="{1494E4F7-2DB1-4EC4-8BBD-E9287F7C50B7}" srcOrd="0" destOrd="0" presId="urn:microsoft.com/office/officeart/2005/8/layout/chevron1"/>
    <dgm:cxn modelId="{A7C42E93-4293-453F-A4F5-64E02C200B25}" srcId="{B191087B-1396-49D4-B39A-583D7855B371}" destId="{B12B17DF-72DD-4F9C-83ED-4789E1356598}" srcOrd="1" destOrd="0" parTransId="{41758B15-3702-45BF-81E7-699539C76D8C}" sibTransId="{0500ED1B-04AD-488C-A72C-500C3863EB10}"/>
    <dgm:cxn modelId="{919AD398-6CD3-421C-BD3D-1F10B571AC65}" srcId="{A46F5FCE-4553-46B5-A20D-89592DABE2A0}" destId="{DF663B90-23C2-4134-A253-FC9D2A900FE3}" srcOrd="4" destOrd="0" parTransId="{F4F1F7D8-BB51-46F5-B86D-DBF27FEC2625}" sibTransId="{71A8398C-8888-472F-B02D-E077457BC3CC}"/>
    <dgm:cxn modelId="{8B080999-89C0-4F2B-A392-822CE6E7AC8B}" type="presOf" srcId="{11FE01CB-0564-4239-BF3D-95794BFB8A55}" destId="{EFC47D73-6FD2-4902-B7F5-720E1F1F9DD7}" srcOrd="0" destOrd="2" presId="urn:microsoft.com/office/officeart/2005/8/layout/chevron1"/>
    <dgm:cxn modelId="{1BCBE9A4-41D7-4399-8980-6D93B1152FB4}" srcId="{8552FB84-B9A2-4BFD-A625-B5A8DDB8C040}" destId="{949D4113-2236-4E65-B31F-4EB3E3BDDC81}" srcOrd="0" destOrd="0" parTransId="{F5441C5E-0D83-4B8A-95F4-C1AE810BAC4C}" sibTransId="{95B7DA83-7158-4C69-992B-4A99A628EF5A}"/>
    <dgm:cxn modelId="{5784DCAA-1D67-4D27-8400-1B2DCEF7BA09}" type="presOf" srcId="{A46F5FCE-4553-46B5-A20D-89592DABE2A0}" destId="{5D50BB4D-C56E-4875-BF76-8336128782A3}" srcOrd="0" destOrd="0" presId="urn:microsoft.com/office/officeart/2005/8/layout/chevron1"/>
    <dgm:cxn modelId="{8E0090AD-9A2A-4083-AE26-063EFDC66CB0}" type="presOf" srcId="{720595BD-CB49-4B55-B936-D8131531B8A7}" destId="{DAE5E54F-0385-4BB8-8434-8244DE2E0164}" srcOrd="0" destOrd="3" presId="urn:microsoft.com/office/officeart/2005/8/layout/chevron1"/>
    <dgm:cxn modelId="{E44666AF-55B4-4580-A403-072ACA9A2C3B}" type="presOf" srcId="{A47554A5-DD4B-4629-87BC-4D1A0857CD5B}" destId="{1494E4F7-2DB1-4EC4-8BBD-E9287F7C50B7}" srcOrd="0" destOrd="1" presId="urn:microsoft.com/office/officeart/2005/8/layout/chevron1"/>
    <dgm:cxn modelId="{EAC9DFB1-8AD1-4F41-9CEF-C055C7B62BEA}" type="presOf" srcId="{ECB5D093-D993-45A9-A603-CA0AD6FD11D1}" destId="{1494E4F7-2DB1-4EC4-8BBD-E9287F7C50B7}" srcOrd="0" destOrd="2" presId="urn:microsoft.com/office/officeart/2005/8/layout/chevron1"/>
    <dgm:cxn modelId="{5B0EAFB2-2D3C-4AB8-B670-6E2E406E41B6}" type="presOf" srcId="{746EDFAD-9080-430D-9B45-A285419A3E74}" destId="{DAE5E54F-0385-4BB8-8434-8244DE2E0164}" srcOrd="0" destOrd="4" presId="urn:microsoft.com/office/officeart/2005/8/layout/chevron1"/>
    <dgm:cxn modelId="{FC281EB8-BA65-42AC-A43C-437402F3BC4A}" srcId="{DBA8D1A3-9458-4F2B-98CC-F395F9539EF3}" destId="{855F2CCF-89CA-42A7-AAEB-ADDCBD985278}" srcOrd="4" destOrd="0" parTransId="{100B1812-FEA9-48DB-90A0-58CD951120A8}" sibTransId="{4219EE1B-85CD-420A-A99B-01F45B530D62}"/>
    <dgm:cxn modelId="{2783D6BC-76EF-4253-A91A-A095EB79CB63}" srcId="{0C49990A-F575-4F40-9AE5-9BCC76BAA697}" destId="{4FC7A1E0-FB11-4FCC-828C-E814F2C4DD54}" srcOrd="0" destOrd="0" parTransId="{B4718035-F0BC-4107-BE96-4FAD74F7D99D}" sibTransId="{20FEB071-AC14-4153-AB1F-78F4FFF867DA}"/>
    <dgm:cxn modelId="{E7AC08C2-0356-4273-8853-295A2A1D1508}" type="presOf" srcId="{B3D1B014-8711-4153-83A2-3CC220F08901}" destId="{FE794F0F-ED3A-4A3E-BD5C-A5CAAF54700E}" srcOrd="0" destOrd="5" presId="urn:microsoft.com/office/officeart/2005/8/layout/chevron1"/>
    <dgm:cxn modelId="{1AC908C3-4F62-410D-9289-DD6CDD1FD5D6}" type="presOf" srcId="{614A93B2-B902-4D99-A9CB-6849EC02F934}" destId="{FE794F0F-ED3A-4A3E-BD5C-A5CAAF54700E}" srcOrd="0" destOrd="3" presId="urn:microsoft.com/office/officeart/2005/8/layout/chevron1"/>
    <dgm:cxn modelId="{6ED537C8-A3A3-4063-B150-D9891B530149}" type="presOf" srcId="{855F2CCF-89CA-42A7-AAEB-ADDCBD985278}" destId="{F16A14EA-1129-4510-AAE7-817ADADC08E6}" srcOrd="0" destOrd="0" presId="urn:microsoft.com/office/officeart/2005/8/layout/chevron1"/>
    <dgm:cxn modelId="{646889DA-5376-4777-BC8A-31C0CFD856C1}" srcId="{A46F5FCE-4553-46B5-A20D-89592DABE2A0}" destId="{B3D1B014-8711-4153-83A2-3CC220F08901}" srcOrd="3" destOrd="0" parTransId="{B63443CD-C89A-492B-AEA0-5C950A45C08F}" sibTransId="{41D3B400-811C-48FC-BFD7-3E3FAE2A2DC5}"/>
    <dgm:cxn modelId="{3A12F4DC-BA46-4CF3-AD16-4F6FD4D69794}" srcId="{A46F5FCE-4553-46B5-A20D-89592DABE2A0}" destId="{614A93B2-B902-4D99-A9CB-6849EC02F934}" srcOrd="2" destOrd="0" parTransId="{2EC6E365-782E-4121-98DA-41625A630DE9}" sibTransId="{C5F9738F-8F06-4100-811B-97AF78A36C3A}"/>
    <dgm:cxn modelId="{08D863DF-CFEE-4EBD-9826-C34B250C5DD0}" srcId="{DBA8D1A3-9458-4F2B-98CC-F395F9539EF3}" destId="{8552FB84-B9A2-4BFD-A625-B5A8DDB8C040}" srcOrd="0" destOrd="0" parTransId="{9E2EDFAB-CD6A-406B-8F01-4C599748ACA5}" sibTransId="{3881DC69-E7C6-4F97-9E4E-CACE8FA970E2}"/>
    <dgm:cxn modelId="{496B00E0-A301-4DF8-8C24-C6004F854449}" type="presOf" srcId="{7ECD6824-30E7-49AF-9DA4-B49ECDA323C5}" destId="{322A30F6-AEB2-4006-85AA-F5C8BD43E401}" srcOrd="0" destOrd="5" presId="urn:microsoft.com/office/officeart/2005/8/layout/chevron1"/>
    <dgm:cxn modelId="{9F0404E2-0524-4A3F-89D2-201AD9FCAA10}" type="presOf" srcId="{0C49990A-F575-4F40-9AE5-9BCC76BAA697}" destId="{DAE5E54F-0385-4BB8-8434-8244DE2E0164}" srcOrd="0" destOrd="0" presId="urn:microsoft.com/office/officeart/2005/8/layout/chevron1"/>
    <dgm:cxn modelId="{19C8F1E3-286B-4328-87BB-78262DA7956C}" srcId="{855F2CCF-89CA-42A7-AAEB-ADDCBD985278}" destId="{ECB5D093-D993-45A9-A603-CA0AD6FD11D1}" srcOrd="2" destOrd="0" parTransId="{5E349BFF-9DCA-4D85-9CB1-EC3473E93C2F}" sibTransId="{CFB39B16-02DE-4AC3-8146-6583E29A5380}"/>
    <dgm:cxn modelId="{336253E9-2251-4A15-8A04-F08C95729CD8}" srcId="{614A93B2-B902-4D99-A9CB-6849EC02F934}" destId="{E440DFDB-21C9-4CA8-B756-91393F5197FE}" srcOrd="0" destOrd="0" parTransId="{A7CC1193-E0A5-47AE-A842-A94D01D73BB9}" sibTransId="{5667A1FE-15FE-459C-A144-59D64E1BABEA}"/>
    <dgm:cxn modelId="{3C4F69EE-49C3-4E73-9C13-1BEC606E0F70}" srcId="{B191087B-1396-49D4-B39A-583D7855B371}" destId="{1F1935CD-2027-4F5A-866A-08C70BCAB350}" srcOrd="3" destOrd="0" parTransId="{C03397D2-2D8B-4676-AF30-7A4D4C180518}" sibTransId="{3410B46C-C0C9-467F-9659-E4AF128A38B0}"/>
    <dgm:cxn modelId="{D71866F2-4C67-4357-8EF4-B9EE03A462AE}" srcId="{855F2CCF-89CA-42A7-AAEB-ADDCBD985278}" destId="{65C2322D-5F8B-4D1D-9F20-F88A93FDC917}" srcOrd="0" destOrd="0" parTransId="{0F4D41B5-9D20-4DC2-86A7-DFAB87E5944E}" sibTransId="{3ED4A30B-5832-4F60-9205-A8D7B72E312B}"/>
    <dgm:cxn modelId="{1319A8F4-9158-4ED5-BE7E-9B2797F13C07}" srcId="{DBA8D1A3-9458-4F2B-98CC-F395F9539EF3}" destId="{B191087B-1396-49D4-B39A-583D7855B371}" srcOrd="3" destOrd="0" parTransId="{1F654FE6-7407-4353-82E9-71B511667B4D}" sibTransId="{43420671-5935-4987-9CF4-B19C6AF48D50}"/>
    <dgm:cxn modelId="{79D510FC-4E8A-4398-95CC-DC082AC71A44}" srcId="{B191087B-1396-49D4-B39A-583D7855B371}" destId="{65BD79D3-DA57-4481-B389-04B2C1D16158}" srcOrd="0" destOrd="0" parTransId="{2CFE595A-9880-41EF-AE58-E8E615B7365B}" sibTransId="{CC751B0E-7606-4FF4-9AB6-4A045E50DF24}"/>
    <dgm:cxn modelId="{E5461D3B-7E36-4C98-9E31-2CF1CBDA455B}" type="presParOf" srcId="{0ECC23F0-4B38-4C46-8C8B-A3B7829A8B2E}" destId="{304E824A-5BCA-4A80-AA02-29C98AA085FC}" srcOrd="0" destOrd="0" presId="urn:microsoft.com/office/officeart/2005/8/layout/chevron1"/>
    <dgm:cxn modelId="{140DCBC0-E884-4CEE-8944-F72C8FA00864}" type="presParOf" srcId="{304E824A-5BCA-4A80-AA02-29C98AA085FC}" destId="{1C8E2646-3F98-4754-85E5-8604745334D7}" srcOrd="0" destOrd="0" presId="urn:microsoft.com/office/officeart/2005/8/layout/chevron1"/>
    <dgm:cxn modelId="{2B26C583-9480-490E-803B-48F80248F22B}" type="presParOf" srcId="{304E824A-5BCA-4A80-AA02-29C98AA085FC}" destId="{322A30F6-AEB2-4006-85AA-F5C8BD43E401}" srcOrd="1" destOrd="0" presId="urn:microsoft.com/office/officeart/2005/8/layout/chevron1"/>
    <dgm:cxn modelId="{AE8AF8C9-DC35-4D2A-89E1-3A3FE7B09E23}" type="presParOf" srcId="{0ECC23F0-4B38-4C46-8C8B-A3B7829A8B2E}" destId="{3A009F1A-46F6-4F90-BB70-F3FCD95F581A}" srcOrd="1" destOrd="0" presId="urn:microsoft.com/office/officeart/2005/8/layout/chevron1"/>
    <dgm:cxn modelId="{DCD5F65A-F2F6-490F-A162-D155C78BD68B}" type="presParOf" srcId="{0ECC23F0-4B38-4C46-8C8B-A3B7829A8B2E}" destId="{A6A1D84C-CE7F-4DCA-A48B-9BD31A9890CA}" srcOrd="2" destOrd="0" presId="urn:microsoft.com/office/officeart/2005/8/layout/chevron1"/>
    <dgm:cxn modelId="{64A7F525-4FD2-48D6-B975-1DDBAE10A9E0}" type="presParOf" srcId="{A6A1D84C-CE7F-4DCA-A48B-9BD31A9890CA}" destId="{2D9A3538-BABD-47BA-8131-41D110A5C4B1}" srcOrd="0" destOrd="0" presId="urn:microsoft.com/office/officeart/2005/8/layout/chevron1"/>
    <dgm:cxn modelId="{BC2D91DF-714B-46DD-B4F5-3F2273FADB16}" type="presParOf" srcId="{A6A1D84C-CE7F-4DCA-A48B-9BD31A9890CA}" destId="{DAE5E54F-0385-4BB8-8434-8244DE2E0164}" srcOrd="1" destOrd="0" presId="urn:microsoft.com/office/officeart/2005/8/layout/chevron1"/>
    <dgm:cxn modelId="{880D6528-1799-466D-99D6-4DFB6FD9159C}" type="presParOf" srcId="{0ECC23F0-4B38-4C46-8C8B-A3B7829A8B2E}" destId="{B860F87C-13D2-40CA-8D96-885303167D7C}" srcOrd="3" destOrd="0" presId="urn:microsoft.com/office/officeart/2005/8/layout/chevron1"/>
    <dgm:cxn modelId="{2E6DAEE6-AAFB-43DA-A941-F0F912DFD7C7}" type="presParOf" srcId="{0ECC23F0-4B38-4C46-8C8B-A3B7829A8B2E}" destId="{A9772D60-7A6A-4F7A-AEB8-590CB859D725}" srcOrd="4" destOrd="0" presId="urn:microsoft.com/office/officeart/2005/8/layout/chevron1"/>
    <dgm:cxn modelId="{5A5F7CCA-51E4-4862-A3C2-F60D0252F6CF}" type="presParOf" srcId="{A9772D60-7A6A-4F7A-AEB8-590CB859D725}" destId="{5D50BB4D-C56E-4875-BF76-8336128782A3}" srcOrd="0" destOrd="0" presId="urn:microsoft.com/office/officeart/2005/8/layout/chevron1"/>
    <dgm:cxn modelId="{4D856094-7F7F-4241-9EFC-8CA0952D6664}" type="presParOf" srcId="{A9772D60-7A6A-4F7A-AEB8-590CB859D725}" destId="{FE794F0F-ED3A-4A3E-BD5C-A5CAAF54700E}" srcOrd="1" destOrd="0" presId="urn:microsoft.com/office/officeart/2005/8/layout/chevron1"/>
    <dgm:cxn modelId="{6CBACCEB-46BD-48E8-85CB-2562610B7400}" type="presParOf" srcId="{0ECC23F0-4B38-4C46-8C8B-A3B7829A8B2E}" destId="{6DFD2709-5DC0-49A9-8B83-E39CD06D8766}" srcOrd="5" destOrd="0" presId="urn:microsoft.com/office/officeart/2005/8/layout/chevron1"/>
    <dgm:cxn modelId="{D581192B-4C48-485F-BAF6-B904FA258760}" type="presParOf" srcId="{0ECC23F0-4B38-4C46-8C8B-A3B7829A8B2E}" destId="{635EDAAA-5AF6-40D5-A829-ADBECDCAD4D5}" srcOrd="6" destOrd="0" presId="urn:microsoft.com/office/officeart/2005/8/layout/chevron1"/>
    <dgm:cxn modelId="{350DDF18-23F8-4459-AE40-997701C42E9C}" type="presParOf" srcId="{635EDAAA-5AF6-40D5-A829-ADBECDCAD4D5}" destId="{AC4DCF85-E913-4ED7-B22D-47DF43E7B33F}" srcOrd="0" destOrd="0" presId="urn:microsoft.com/office/officeart/2005/8/layout/chevron1"/>
    <dgm:cxn modelId="{377A51DB-4ED0-454A-AF1A-F3984341A14A}" type="presParOf" srcId="{635EDAAA-5AF6-40D5-A829-ADBECDCAD4D5}" destId="{EFC47D73-6FD2-4902-B7F5-720E1F1F9DD7}" srcOrd="1" destOrd="0" presId="urn:microsoft.com/office/officeart/2005/8/layout/chevron1"/>
    <dgm:cxn modelId="{2559003B-DB3F-4F04-AEA5-F55792458A2F}" type="presParOf" srcId="{0ECC23F0-4B38-4C46-8C8B-A3B7829A8B2E}" destId="{72183952-ECE9-41A5-9A84-E32D143F57D4}" srcOrd="7" destOrd="0" presId="urn:microsoft.com/office/officeart/2005/8/layout/chevron1"/>
    <dgm:cxn modelId="{C4AE4EFC-2569-497F-844A-4193C181E087}" type="presParOf" srcId="{0ECC23F0-4B38-4C46-8C8B-A3B7829A8B2E}" destId="{55E6E8F3-EAE8-4CBC-AAD9-13CC332DFBB9}" srcOrd="8" destOrd="0" presId="urn:microsoft.com/office/officeart/2005/8/layout/chevron1"/>
    <dgm:cxn modelId="{552003E9-6E71-4509-9362-2110D441EBEF}" type="presParOf" srcId="{55E6E8F3-EAE8-4CBC-AAD9-13CC332DFBB9}" destId="{F16A14EA-1129-4510-AAE7-817ADADC08E6}" srcOrd="0" destOrd="0" presId="urn:microsoft.com/office/officeart/2005/8/layout/chevron1"/>
    <dgm:cxn modelId="{68A0EBE9-323D-41B9-8086-EF59AAFF1103}" type="presParOf" srcId="{55E6E8F3-EAE8-4CBC-AAD9-13CC332DFBB9}" destId="{1494E4F7-2DB1-4EC4-8BBD-E9287F7C50B7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759004-23A8-4D47-9D9B-A102986A2A4A}" type="doc">
      <dgm:prSet loTypeId="urn:microsoft.com/office/officeart/2005/8/layout/venn1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i-FI"/>
        </a:p>
      </dgm:t>
    </dgm:pt>
    <dgm:pt modelId="{19D7C05D-B1D6-4B83-83F0-55FC8185AA03}">
      <dgm:prSet phldrT="[Teksti]"/>
      <dgm:spPr/>
      <dgm:t>
        <a:bodyPr/>
        <a:lstStyle/>
        <a:p>
          <a:r>
            <a:rPr lang="fi-FI">
              <a:latin typeface="Lato" panose="020F0502020204030203" pitchFamily="34" charset="0"/>
            </a:rPr>
            <a:t>Asiakasrajapinnan sähköiset palvelut</a:t>
          </a:r>
        </a:p>
      </dgm:t>
    </dgm:pt>
    <dgm:pt modelId="{CA7AFBAB-217E-4E5D-B1E8-71D1828B5A8E}" type="parTrans" cxnId="{273FF75D-A4F0-4067-A5F0-2B5B4956B937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168BEE94-4E5D-4154-9323-D97DF10CC184}" type="sibTrans" cxnId="{273FF75D-A4F0-4067-A5F0-2B5B4956B937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112C3427-BFE4-4C8B-BDDC-B6088AF81F30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Sähköinen arkistointi</a:t>
          </a:r>
        </a:p>
      </dgm:t>
    </dgm:pt>
    <dgm:pt modelId="{0B3D997A-19F5-4EAC-B90C-002924CE64D3}" type="parTrans" cxnId="{380E072D-077F-4E42-A218-3DDA7D1455A1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278A943B-6067-432B-8145-2EDDBBCDA90E}" type="sibTrans" cxnId="{380E072D-077F-4E42-A218-3DDA7D1455A1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C5365E70-4817-4470-BAC1-75D34B98C741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Toiminnan ohjaus</a:t>
          </a:r>
        </a:p>
      </dgm:t>
    </dgm:pt>
    <dgm:pt modelId="{C8DB0658-1DFA-42E2-A085-05FD9CA42F38}" type="parTrans" cxnId="{69FF65D8-5795-454F-B4F0-E17DF5E8B71B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8CB7CDF6-3BCD-4EFC-B7A2-11A31AAD65BB}" type="sibTrans" cxnId="{69FF65D8-5795-454F-B4F0-E17DF5E8B71B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E69CF08E-B2A3-4A97-8A04-C22B84675442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Digitaalinen hallinto ja työympäristö</a:t>
          </a:r>
        </a:p>
      </dgm:t>
    </dgm:pt>
    <dgm:pt modelId="{155A7419-B365-4540-BE93-E2544F743E35}" type="parTrans" cxnId="{07196FF0-2A34-4783-B251-20A2DBFC82A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D92696A3-C676-4E39-AA6F-280E37FD9CE4}" type="sibTrans" cxnId="{07196FF0-2A34-4783-B251-20A2DBFC82A0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379441FE-BA5C-485B-9BEB-6ABBBBDB0188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Tiedolla johtaminen ja toimiminen</a:t>
          </a:r>
        </a:p>
      </dgm:t>
    </dgm:pt>
    <dgm:pt modelId="{8E9B82B6-AD87-4B75-B505-A1D15B87A163}" type="parTrans" cxnId="{F091D8C6-2742-4E0A-81EE-23C1291ECAD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1E596806-778C-4283-B2FB-B4C76762759F}" type="sibTrans" cxnId="{F091D8C6-2742-4E0A-81EE-23C1291ECAD4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4B694B6F-7121-4DC3-9E86-43B462AB8524}">
      <dgm:prSet/>
      <dgm:spPr/>
      <dgm:t>
        <a:bodyPr/>
        <a:lstStyle/>
        <a:p>
          <a:r>
            <a:rPr lang="fi-FI">
              <a:latin typeface="Lato" panose="020F0502020204030203" pitchFamily="34" charset="0"/>
            </a:rPr>
            <a:t>Digiympäristö mahdollistajana</a:t>
          </a:r>
        </a:p>
      </dgm:t>
    </dgm:pt>
    <dgm:pt modelId="{DBF72FC7-3088-4B3C-859A-A8F02A40F549}" type="parTrans" cxnId="{2CAB99F5-0D0B-4573-9D8E-7C74B3F071D8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0CDFFB9E-C53E-4716-8A93-53059EFBC93C}" type="sibTrans" cxnId="{2CAB99F5-0D0B-4573-9D8E-7C74B3F071D8}">
      <dgm:prSet/>
      <dgm:spPr/>
      <dgm:t>
        <a:bodyPr/>
        <a:lstStyle/>
        <a:p>
          <a:endParaRPr lang="fi-FI">
            <a:latin typeface="Lato" panose="020F0502020204030203" pitchFamily="34" charset="0"/>
          </a:endParaRPr>
        </a:p>
      </dgm:t>
    </dgm:pt>
    <dgm:pt modelId="{F945F975-FD86-4A20-90A1-F3EC55F86F04}" type="pres">
      <dgm:prSet presAssocID="{37759004-23A8-4D47-9D9B-A102986A2A4A}" presName="compositeShape" presStyleCnt="0">
        <dgm:presLayoutVars>
          <dgm:chMax val="7"/>
          <dgm:dir/>
          <dgm:resizeHandles val="exact"/>
        </dgm:presLayoutVars>
      </dgm:prSet>
      <dgm:spPr/>
    </dgm:pt>
    <dgm:pt modelId="{7B451BCE-3F58-404D-9928-476FC2E2DA22}" type="pres">
      <dgm:prSet presAssocID="{19D7C05D-B1D6-4B83-83F0-55FC8185AA03}" presName="circ1" presStyleLbl="vennNode1" presStyleIdx="0" presStyleCnt="6"/>
      <dgm:spPr/>
    </dgm:pt>
    <dgm:pt modelId="{CA235E2B-0118-46D8-9B32-EC64E02A178F}" type="pres">
      <dgm:prSet presAssocID="{19D7C05D-B1D6-4B83-83F0-55FC8185AA03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C7001E22-31E7-42E5-A4AA-A0F7A35CA69E}" type="pres">
      <dgm:prSet presAssocID="{112C3427-BFE4-4C8B-BDDC-B6088AF81F30}" presName="circ2" presStyleLbl="vennNode1" presStyleIdx="1" presStyleCnt="6"/>
      <dgm:spPr/>
    </dgm:pt>
    <dgm:pt modelId="{1470B21B-B590-450E-B03D-C32CCBD4A626}" type="pres">
      <dgm:prSet presAssocID="{112C3427-BFE4-4C8B-BDDC-B6088AF81F30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B6E335F9-7C44-4C15-84A6-6EE9BAF4C11C}" type="pres">
      <dgm:prSet presAssocID="{C5365E70-4817-4470-BAC1-75D34B98C741}" presName="circ3" presStyleLbl="vennNode1" presStyleIdx="2" presStyleCnt="6"/>
      <dgm:spPr/>
    </dgm:pt>
    <dgm:pt modelId="{D476884A-4E74-4CF2-8811-27D4921BFE66}" type="pres">
      <dgm:prSet presAssocID="{C5365E70-4817-4470-BAC1-75D34B98C74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8682449B-4501-44A3-AEB5-233E9BFF30D1}" type="pres">
      <dgm:prSet presAssocID="{E69CF08E-B2A3-4A97-8A04-C22B84675442}" presName="circ4" presStyleLbl="vennNode1" presStyleIdx="3" presStyleCnt="6"/>
      <dgm:spPr/>
    </dgm:pt>
    <dgm:pt modelId="{08DBD5B5-B348-4B49-B2FB-DB6FE016B520}" type="pres">
      <dgm:prSet presAssocID="{E69CF08E-B2A3-4A97-8A04-C22B84675442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738F1CD8-50DD-49D5-801D-06AB844E9098}" type="pres">
      <dgm:prSet presAssocID="{379441FE-BA5C-485B-9BEB-6ABBBBDB0188}" presName="circ5" presStyleLbl="vennNode1" presStyleIdx="4" presStyleCnt="6"/>
      <dgm:spPr/>
    </dgm:pt>
    <dgm:pt modelId="{E4DD07C4-8ACF-453C-B6B5-79555CD875FF}" type="pres">
      <dgm:prSet presAssocID="{379441FE-BA5C-485B-9BEB-6ABBBBDB0188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009D190-6E38-43BC-906D-4A86F553DA07}" type="pres">
      <dgm:prSet presAssocID="{4B694B6F-7121-4DC3-9E86-43B462AB8524}" presName="circ6" presStyleLbl="vennNode1" presStyleIdx="5" presStyleCnt="6"/>
      <dgm:spPr/>
    </dgm:pt>
    <dgm:pt modelId="{65347FEE-C243-4FC5-A714-80D13FFBC4C8}" type="pres">
      <dgm:prSet presAssocID="{4B694B6F-7121-4DC3-9E86-43B462AB8524}" presName="circ6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9519DF17-DE3D-47A4-8F22-438F10B33150}" type="presOf" srcId="{C5365E70-4817-4470-BAC1-75D34B98C741}" destId="{D476884A-4E74-4CF2-8811-27D4921BFE66}" srcOrd="0" destOrd="0" presId="urn:microsoft.com/office/officeart/2005/8/layout/venn1"/>
    <dgm:cxn modelId="{1971A920-D122-4267-AAE5-3204E443746F}" type="presOf" srcId="{112C3427-BFE4-4C8B-BDDC-B6088AF81F30}" destId="{1470B21B-B590-450E-B03D-C32CCBD4A626}" srcOrd="0" destOrd="0" presId="urn:microsoft.com/office/officeart/2005/8/layout/venn1"/>
    <dgm:cxn modelId="{2C430425-BDF9-413C-BF8C-BB1AC9C146D4}" type="presOf" srcId="{4B694B6F-7121-4DC3-9E86-43B462AB8524}" destId="{65347FEE-C243-4FC5-A714-80D13FFBC4C8}" srcOrd="0" destOrd="0" presId="urn:microsoft.com/office/officeart/2005/8/layout/venn1"/>
    <dgm:cxn modelId="{380E072D-077F-4E42-A218-3DDA7D1455A1}" srcId="{37759004-23A8-4D47-9D9B-A102986A2A4A}" destId="{112C3427-BFE4-4C8B-BDDC-B6088AF81F30}" srcOrd="1" destOrd="0" parTransId="{0B3D997A-19F5-4EAC-B90C-002924CE64D3}" sibTransId="{278A943B-6067-432B-8145-2EDDBBCDA90E}"/>
    <dgm:cxn modelId="{2CF6353C-1AA9-4745-9E6C-C97119B05AF5}" type="presOf" srcId="{E69CF08E-B2A3-4A97-8A04-C22B84675442}" destId="{08DBD5B5-B348-4B49-B2FB-DB6FE016B520}" srcOrd="0" destOrd="0" presId="urn:microsoft.com/office/officeart/2005/8/layout/venn1"/>
    <dgm:cxn modelId="{57D3BE5B-E4FB-49B4-AD37-F6F9145930B4}" type="presOf" srcId="{379441FE-BA5C-485B-9BEB-6ABBBBDB0188}" destId="{E4DD07C4-8ACF-453C-B6B5-79555CD875FF}" srcOrd="0" destOrd="0" presId="urn:microsoft.com/office/officeart/2005/8/layout/venn1"/>
    <dgm:cxn modelId="{273FF75D-A4F0-4067-A5F0-2B5B4956B937}" srcId="{37759004-23A8-4D47-9D9B-A102986A2A4A}" destId="{19D7C05D-B1D6-4B83-83F0-55FC8185AA03}" srcOrd="0" destOrd="0" parTransId="{CA7AFBAB-217E-4E5D-B1E8-71D1828B5A8E}" sibTransId="{168BEE94-4E5D-4154-9323-D97DF10CC184}"/>
    <dgm:cxn modelId="{B7E9CB63-BC6A-47EA-8E22-6D3C90AD4CFD}" type="presOf" srcId="{19D7C05D-B1D6-4B83-83F0-55FC8185AA03}" destId="{CA235E2B-0118-46D8-9B32-EC64E02A178F}" srcOrd="0" destOrd="0" presId="urn:microsoft.com/office/officeart/2005/8/layout/venn1"/>
    <dgm:cxn modelId="{F1AA5065-F839-413B-9BD6-A3671D6CC7F1}" type="presOf" srcId="{37759004-23A8-4D47-9D9B-A102986A2A4A}" destId="{F945F975-FD86-4A20-90A1-F3EC55F86F04}" srcOrd="0" destOrd="0" presId="urn:microsoft.com/office/officeart/2005/8/layout/venn1"/>
    <dgm:cxn modelId="{F091D8C6-2742-4E0A-81EE-23C1291ECAD4}" srcId="{37759004-23A8-4D47-9D9B-A102986A2A4A}" destId="{379441FE-BA5C-485B-9BEB-6ABBBBDB0188}" srcOrd="4" destOrd="0" parTransId="{8E9B82B6-AD87-4B75-B505-A1D15B87A163}" sibTransId="{1E596806-778C-4283-B2FB-B4C76762759F}"/>
    <dgm:cxn modelId="{69FF65D8-5795-454F-B4F0-E17DF5E8B71B}" srcId="{37759004-23A8-4D47-9D9B-A102986A2A4A}" destId="{C5365E70-4817-4470-BAC1-75D34B98C741}" srcOrd="2" destOrd="0" parTransId="{C8DB0658-1DFA-42E2-A085-05FD9CA42F38}" sibTransId="{8CB7CDF6-3BCD-4EFC-B7A2-11A31AAD65BB}"/>
    <dgm:cxn modelId="{07196FF0-2A34-4783-B251-20A2DBFC82A0}" srcId="{37759004-23A8-4D47-9D9B-A102986A2A4A}" destId="{E69CF08E-B2A3-4A97-8A04-C22B84675442}" srcOrd="3" destOrd="0" parTransId="{155A7419-B365-4540-BE93-E2544F743E35}" sibTransId="{D92696A3-C676-4E39-AA6F-280E37FD9CE4}"/>
    <dgm:cxn modelId="{2CAB99F5-0D0B-4573-9D8E-7C74B3F071D8}" srcId="{37759004-23A8-4D47-9D9B-A102986A2A4A}" destId="{4B694B6F-7121-4DC3-9E86-43B462AB8524}" srcOrd="5" destOrd="0" parTransId="{DBF72FC7-3088-4B3C-859A-A8F02A40F549}" sibTransId="{0CDFFB9E-C53E-4716-8A93-53059EFBC93C}"/>
    <dgm:cxn modelId="{614A1D97-9833-487E-B4B7-E0C0F546F9B8}" type="presParOf" srcId="{F945F975-FD86-4A20-90A1-F3EC55F86F04}" destId="{7B451BCE-3F58-404D-9928-476FC2E2DA22}" srcOrd="0" destOrd="0" presId="urn:microsoft.com/office/officeart/2005/8/layout/venn1"/>
    <dgm:cxn modelId="{40F27294-EDDD-4304-970D-6A406CEAAD47}" type="presParOf" srcId="{F945F975-FD86-4A20-90A1-F3EC55F86F04}" destId="{CA235E2B-0118-46D8-9B32-EC64E02A178F}" srcOrd="1" destOrd="0" presId="urn:microsoft.com/office/officeart/2005/8/layout/venn1"/>
    <dgm:cxn modelId="{695684EC-5D0D-41C1-A12D-EB778154FFCE}" type="presParOf" srcId="{F945F975-FD86-4A20-90A1-F3EC55F86F04}" destId="{C7001E22-31E7-42E5-A4AA-A0F7A35CA69E}" srcOrd="2" destOrd="0" presId="urn:microsoft.com/office/officeart/2005/8/layout/venn1"/>
    <dgm:cxn modelId="{267A9E9A-1BCE-451E-9F3D-14154F19E152}" type="presParOf" srcId="{F945F975-FD86-4A20-90A1-F3EC55F86F04}" destId="{1470B21B-B590-450E-B03D-C32CCBD4A626}" srcOrd="3" destOrd="0" presId="urn:microsoft.com/office/officeart/2005/8/layout/venn1"/>
    <dgm:cxn modelId="{C2F91B77-04C3-418E-A97D-1BF953F62572}" type="presParOf" srcId="{F945F975-FD86-4A20-90A1-F3EC55F86F04}" destId="{B6E335F9-7C44-4C15-84A6-6EE9BAF4C11C}" srcOrd="4" destOrd="0" presId="urn:microsoft.com/office/officeart/2005/8/layout/venn1"/>
    <dgm:cxn modelId="{68C839DC-EA95-4640-8A55-778F37DDFA23}" type="presParOf" srcId="{F945F975-FD86-4A20-90A1-F3EC55F86F04}" destId="{D476884A-4E74-4CF2-8811-27D4921BFE66}" srcOrd="5" destOrd="0" presId="urn:microsoft.com/office/officeart/2005/8/layout/venn1"/>
    <dgm:cxn modelId="{07B12C4F-BF3C-46D3-9AEB-B16BCC2419F9}" type="presParOf" srcId="{F945F975-FD86-4A20-90A1-F3EC55F86F04}" destId="{8682449B-4501-44A3-AEB5-233E9BFF30D1}" srcOrd="6" destOrd="0" presId="urn:microsoft.com/office/officeart/2005/8/layout/venn1"/>
    <dgm:cxn modelId="{04A3DD54-E2B4-4F30-8A91-D245F726537C}" type="presParOf" srcId="{F945F975-FD86-4A20-90A1-F3EC55F86F04}" destId="{08DBD5B5-B348-4B49-B2FB-DB6FE016B520}" srcOrd="7" destOrd="0" presId="urn:microsoft.com/office/officeart/2005/8/layout/venn1"/>
    <dgm:cxn modelId="{0AF1B321-2026-4FE0-8A3C-BA6D60A84471}" type="presParOf" srcId="{F945F975-FD86-4A20-90A1-F3EC55F86F04}" destId="{738F1CD8-50DD-49D5-801D-06AB844E9098}" srcOrd="8" destOrd="0" presId="urn:microsoft.com/office/officeart/2005/8/layout/venn1"/>
    <dgm:cxn modelId="{AEED8D2B-2632-41E9-9158-E714F909FE8B}" type="presParOf" srcId="{F945F975-FD86-4A20-90A1-F3EC55F86F04}" destId="{E4DD07C4-8ACF-453C-B6B5-79555CD875FF}" srcOrd="9" destOrd="0" presId="urn:microsoft.com/office/officeart/2005/8/layout/venn1"/>
    <dgm:cxn modelId="{5AC7697F-5C94-453C-8F6E-0092B0031524}" type="presParOf" srcId="{F945F975-FD86-4A20-90A1-F3EC55F86F04}" destId="{6009D190-6E38-43BC-906D-4A86F553DA07}" srcOrd="10" destOrd="0" presId="urn:microsoft.com/office/officeart/2005/8/layout/venn1"/>
    <dgm:cxn modelId="{E8ED8FD5-38DE-495E-8F28-968121355E16}" type="presParOf" srcId="{F945F975-FD86-4A20-90A1-F3EC55F86F04}" destId="{65347FEE-C243-4FC5-A714-80D13FFBC4C8}" srcOrd="11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9CFA0E1-B5F8-4854-A16A-881F44865EC1}" type="doc">
      <dgm:prSet loTypeId="urn:microsoft.com/office/officeart/2005/8/layout/lProcess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fi-FI"/>
        </a:p>
      </dgm:t>
    </dgm:pt>
    <dgm:pt modelId="{4168F9AF-9974-46CD-8132-BB1B626EC2EA}">
      <dgm:prSet phldrT="[Teksti]" custT="1"/>
      <dgm:spPr/>
      <dgm:t>
        <a:bodyPr/>
        <a:lstStyle/>
        <a:p>
          <a:r>
            <a:rPr lang="fi-FI" sz="800"/>
            <a:t>Sähköinen lupapalvelu ympäristöpalveluissa</a:t>
          </a:r>
        </a:p>
      </dgm:t>
    </dgm:pt>
    <dgm:pt modelId="{6A145F7F-E603-47E3-8D14-6EB0F5C596DC}" type="parTrans" cxnId="{572F8D21-3F9D-4F52-9FB3-D38B53AE6B5E}">
      <dgm:prSet/>
      <dgm:spPr/>
      <dgm:t>
        <a:bodyPr/>
        <a:lstStyle/>
        <a:p>
          <a:endParaRPr lang="fi-FI"/>
        </a:p>
      </dgm:t>
    </dgm:pt>
    <dgm:pt modelId="{363EFBDB-7933-4448-91A1-72AEFBC3FE32}" type="sibTrans" cxnId="{572F8D21-3F9D-4F52-9FB3-D38B53AE6B5E}">
      <dgm:prSet/>
      <dgm:spPr/>
      <dgm:t>
        <a:bodyPr/>
        <a:lstStyle/>
        <a:p>
          <a:endParaRPr lang="fi-FI"/>
        </a:p>
      </dgm:t>
    </dgm:pt>
    <dgm:pt modelId="{388AC338-ADF7-4773-90EF-25033CFDB8DF}">
      <dgm:prSet/>
      <dgm:spPr/>
      <dgm:t>
        <a:bodyPr/>
        <a:lstStyle/>
        <a:p>
          <a:r>
            <a:rPr lang="fi-FI" b="0"/>
            <a:t>Omaa terveyttä ja hyvinvointia </a:t>
          </a:r>
          <a:br>
            <a:rPr lang="fi-FI" b="0"/>
          </a:br>
          <a:r>
            <a:rPr lang="fi-FI" b="0"/>
            <a:t>edistävät ratkaisut</a:t>
          </a:r>
        </a:p>
      </dgm:t>
    </dgm:pt>
    <dgm:pt modelId="{B83E57CD-2507-41C9-970A-D68F32F7F1AD}" type="parTrans" cxnId="{74EF172F-4E06-4952-88D1-F37D93F36774}">
      <dgm:prSet/>
      <dgm:spPr/>
      <dgm:t>
        <a:bodyPr/>
        <a:lstStyle/>
        <a:p>
          <a:endParaRPr lang="fi-FI"/>
        </a:p>
      </dgm:t>
    </dgm:pt>
    <dgm:pt modelId="{DC6FC44A-6344-4F20-B200-5D9F070E00DD}" type="sibTrans" cxnId="{74EF172F-4E06-4952-88D1-F37D93F36774}">
      <dgm:prSet/>
      <dgm:spPr/>
      <dgm:t>
        <a:bodyPr/>
        <a:lstStyle/>
        <a:p>
          <a:endParaRPr lang="fi-FI"/>
        </a:p>
      </dgm:t>
    </dgm:pt>
    <dgm:pt modelId="{2059B89A-340E-4B92-B567-DBAEA2ADB46C}">
      <dgm:prSet/>
      <dgm:spPr/>
      <dgm:t>
        <a:bodyPr/>
        <a:lstStyle/>
        <a:p>
          <a:r>
            <a:rPr lang="fi-FI" b="0"/>
            <a:t>Palveluohjauksen digitaaliset </a:t>
          </a:r>
          <a:br>
            <a:rPr lang="fi-FI" b="0"/>
          </a:br>
          <a:r>
            <a:rPr lang="fi-FI" b="0"/>
            <a:t>ratkaisut​</a:t>
          </a:r>
        </a:p>
      </dgm:t>
    </dgm:pt>
    <dgm:pt modelId="{D5BC3C41-80DC-41D4-AD13-070CB3E2AEF9}" type="parTrans" cxnId="{576702E3-00CA-4278-8452-05CA1C5C7B00}">
      <dgm:prSet/>
      <dgm:spPr/>
      <dgm:t>
        <a:bodyPr/>
        <a:lstStyle/>
        <a:p>
          <a:endParaRPr lang="fi-FI"/>
        </a:p>
      </dgm:t>
    </dgm:pt>
    <dgm:pt modelId="{2121BEF5-620C-4FD5-A32F-9673D386D377}" type="sibTrans" cxnId="{576702E3-00CA-4278-8452-05CA1C5C7B00}">
      <dgm:prSet/>
      <dgm:spPr/>
      <dgm:t>
        <a:bodyPr/>
        <a:lstStyle/>
        <a:p>
          <a:endParaRPr lang="fi-FI"/>
        </a:p>
      </dgm:t>
    </dgm:pt>
    <dgm:pt modelId="{3F937F9D-5895-4FCB-B5C8-506C35992530}">
      <dgm:prSet/>
      <dgm:spPr/>
      <dgm:t>
        <a:bodyPr/>
        <a:lstStyle/>
        <a:p>
          <a:r>
            <a:rPr lang="fi-FI" b="0"/>
            <a:t>Etävastaanotto</a:t>
          </a:r>
        </a:p>
      </dgm:t>
    </dgm:pt>
    <dgm:pt modelId="{2C3EB481-7A62-488C-BC7E-92D3CD1418CB}" type="parTrans" cxnId="{D7D07D74-84E2-4E7C-8EA6-DE3D7FD2179D}">
      <dgm:prSet/>
      <dgm:spPr/>
      <dgm:t>
        <a:bodyPr/>
        <a:lstStyle/>
        <a:p>
          <a:endParaRPr lang="fi-FI"/>
        </a:p>
      </dgm:t>
    </dgm:pt>
    <dgm:pt modelId="{D2128FF1-E51C-428E-84DD-65265F6C5ECE}" type="sibTrans" cxnId="{D7D07D74-84E2-4E7C-8EA6-DE3D7FD2179D}">
      <dgm:prSet/>
      <dgm:spPr/>
      <dgm:t>
        <a:bodyPr/>
        <a:lstStyle/>
        <a:p>
          <a:endParaRPr lang="fi-FI"/>
        </a:p>
      </dgm:t>
    </dgm:pt>
    <dgm:pt modelId="{97DE17D7-6436-464E-9F54-A6D2CA34609D}">
      <dgm:prSet/>
      <dgm:spPr/>
      <dgm:t>
        <a:bodyPr/>
        <a:lstStyle/>
        <a:p>
          <a:r>
            <a:rPr lang="fi-FI" b="0"/>
            <a:t>Ilmoittautumisautomaatit</a:t>
          </a:r>
        </a:p>
      </dgm:t>
    </dgm:pt>
    <dgm:pt modelId="{7BFC8ABD-0B87-414E-A0F8-8317E89EC3C9}" type="parTrans" cxnId="{2EBD55B9-20E4-4BD0-BA12-4B9DFC086C14}">
      <dgm:prSet/>
      <dgm:spPr/>
      <dgm:t>
        <a:bodyPr/>
        <a:lstStyle/>
        <a:p>
          <a:endParaRPr lang="fi-FI"/>
        </a:p>
      </dgm:t>
    </dgm:pt>
    <dgm:pt modelId="{3438982E-0D06-48D2-B0FC-185A67BCFC8F}" type="sibTrans" cxnId="{2EBD55B9-20E4-4BD0-BA12-4B9DFC086C14}">
      <dgm:prSet/>
      <dgm:spPr/>
      <dgm:t>
        <a:bodyPr/>
        <a:lstStyle/>
        <a:p>
          <a:endParaRPr lang="fi-FI"/>
        </a:p>
      </dgm:t>
    </dgm:pt>
    <dgm:pt modelId="{0F18B67F-652A-47DE-AC5C-682E8AD4D439}">
      <dgm:prSet/>
      <dgm:spPr/>
      <dgm:t>
        <a:bodyPr/>
        <a:lstStyle/>
        <a:p>
          <a:r>
            <a:rPr lang="fi-FI" b="0"/>
            <a:t>Kotiin vietävien palvelujen </a:t>
          </a:r>
          <a:br>
            <a:rPr lang="fi-FI" b="0"/>
          </a:br>
          <a:r>
            <a:rPr lang="fi-FI" b="0"/>
            <a:t>kokonaisuus</a:t>
          </a:r>
        </a:p>
      </dgm:t>
    </dgm:pt>
    <dgm:pt modelId="{C14B8D58-F7D6-4E2D-8C43-3DF86768B8F9}" type="parTrans" cxnId="{CA225B10-243D-4CB7-B3E3-E5FE9BA4E576}">
      <dgm:prSet/>
      <dgm:spPr/>
      <dgm:t>
        <a:bodyPr/>
        <a:lstStyle/>
        <a:p>
          <a:endParaRPr lang="fi-FI"/>
        </a:p>
      </dgm:t>
    </dgm:pt>
    <dgm:pt modelId="{5879C9A4-46E5-48F0-BD76-423D0F83D11B}" type="sibTrans" cxnId="{CA225B10-243D-4CB7-B3E3-E5FE9BA4E576}">
      <dgm:prSet/>
      <dgm:spPr/>
      <dgm:t>
        <a:bodyPr/>
        <a:lstStyle/>
        <a:p>
          <a:endParaRPr lang="fi-FI"/>
        </a:p>
      </dgm:t>
    </dgm:pt>
    <dgm:pt modelId="{57B4AEE6-E1C3-4E81-9D1E-0B3EF45FB39B}">
      <dgm:prSet/>
      <dgm:spPr/>
      <dgm:t>
        <a:bodyPr/>
        <a:lstStyle/>
        <a:p>
          <a:r>
            <a:rPr lang="fi-FI"/>
            <a:t>Automatisoitu </a:t>
          </a:r>
          <a:br>
            <a:rPr lang="fi-FI"/>
          </a:br>
          <a:r>
            <a:rPr lang="fi-FI"/>
            <a:t>asiakaspalautejärjestelmä</a:t>
          </a:r>
        </a:p>
      </dgm:t>
    </dgm:pt>
    <dgm:pt modelId="{74C5008E-4D46-451A-ADF9-11D3C3202627}" type="parTrans" cxnId="{ECA4F3E7-BF3A-4B45-8190-579A090DBFB8}">
      <dgm:prSet/>
      <dgm:spPr/>
      <dgm:t>
        <a:bodyPr/>
        <a:lstStyle/>
        <a:p>
          <a:endParaRPr lang="fi-FI"/>
        </a:p>
      </dgm:t>
    </dgm:pt>
    <dgm:pt modelId="{FC595493-0AD1-43EE-A427-E31521F7CB5E}" type="sibTrans" cxnId="{ECA4F3E7-BF3A-4B45-8190-579A090DBFB8}">
      <dgm:prSet/>
      <dgm:spPr/>
      <dgm:t>
        <a:bodyPr/>
        <a:lstStyle/>
        <a:p>
          <a:endParaRPr lang="fi-FI"/>
        </a:p>
      </dgm:t>
    </dgm:pt>
    <dgm:pt modelId="{83C7D734-0751-4B84-B00A-A903F1E27399}">
      <dgm:prSet/>
      <dgm:spPr/>
      <dgm:t>
        <a:bodyPr/>
        <a:lstStyle/>
        <a:p>
          <a:r>
            <a:rPr lang="fi-FI"/>
            <a:t>Asiakkaan itse tuottaman sähköisen tiedon hyötykäyttö</a:t>
          </a:r>
        </a:p>
      </dgm:t>
    </dgm:pt>
    <dgm:pt modelId="{4C60A7F2-5321-4822-A4BF-A361DBD4CF75}" type="parTrans" cxnId="{D6153709-102A-4166-9141-A5991E3C8329}">
      <dgm:prSet/>
      <dgm:spPr/>
      <dgm:t>
        <a:bodyPr/>
        <a:lstStyle/>
        <a:p>
          <a:endParaRPr lang="fi-FI"/>
        </a:p>
      </dgm:t>
    </dgm:pt>
    <dgm:pt modelId="{5C4308A1-46C2-48F6-B555-01D918D39031}" type="sibTrans" cxnId="{D6153709-102A-4166-9141-A5991E3C8329}">
      <dgm:prSet/>
      <dgm:spPr/>
      <dgm:t>
        <a:bodyPr/>
        <a:lstStyle/>
        <a:p>
          <a:endParaRPr lang="fi-FI"/>
        </a:p>
      </dgm:t>
    </dgm:pt>
    <dgm:pt modelId="{872B5743-DE20-4974-AF8D-27FA9690836B}">
      <dgm:prSet/>
      <dgm:spPr/>
      <dgm:t>
        <a:bodyPr/>
        <a:lstStyle/>
        <a:p>
          <a:r>
            <a:rPr lang="fi-FI"/>
            <a:t>Arkistointiratkaisun käyttöönotto, digitointi ja digitaalisten aineistojen siirtäminen nykyisistä ja käytöstä poistettujen ratkaisujen</a:t>
          </a:r>
        </a:p>
      </dgm:t>
    </dgm:pt>
    <dgm:pt modelId="{398220F2-F7A7-4F28-BC52-ACF3D0FFD918}" type="parTrans" cxnId="{E4773642-6DD3-455C-A938-931EB23D8ACC}">
      <dgm:prSet/>
      <dgm:spPr/>
      <dgm:t>
        <a:bodyPr/>
        <a:lstStyle/>
        <a:p>
          <a:endParaRPr lang="fi-FI"/>
        </a:p>
      </dgm:t>
    </dgm:pt>
    <dgm:pt modelId="{7946EBA7-3A55-4842-91EB-AC17CC3E3DF5}" type="sibTrans" cxnId="{E4773642-6DD3-455C-A938-931EB23D8ACC}">
      <dgm:prSet/>
      <dgm:spPr/>
      <dgm:t>
        <a:bodyPr/>
        <a:lstStyle/>
        <a:p>
          <a:endParaRPr lang="fi-FI"/>
        </a:p>
      </dgm:t>
    </dgm:pt>
    <dgm:pt modelId="{7F4BC043-AD6F-43A9-8EF6-62E9987307A2}">
      <dgm:prSet/>
      <dgm:spPr/>
      <dgm:t>
        <a:bodyPr/>
        <a:lstStyle/>
        <a:p>
          <a:r>
            <a:rPr lang="fi-FI" err="1"/>
            <a:t>Sosiaali</a:t>
          </a:r>
          <a:r>
            <a:rPr lang="fi-FI"/>
            <a:t>- ja terveystiedon yhdistäminen ja yhteiskäyttö operatiivisissa prosesseissa (asiakaskohtainen)​</a:t>
          </a:r>
        </a:p>
      </dgm:t>
    </dgm:pt>
    <dgm:pt modelId="{C979C025-4D9A-401C-9228-8FF52DD7641F}" type="parTrans" cxnId="{A5BBEC91-FF35-4E62-8646-48CCFDF1C2E4}">
      <dgm:prSet/>
      <dgm:spPr/>
      <dgm:t>
        <a:bodyPr/>
        <a:lstStyle/>
        <a:p>
          <a:endParaRPr lang="fi-FI"/>
        </a:p>
      </dgm:t>
    </dgm:pt>
    <dgm:pt modelId="{D755B57B-5D9D-4B2C-90BA-76EF031DF7E2}" type="sibTrans" cxnId="{A5BBEC91-FF35-4E62-8646-48CCFDF1C2E4}">
      <dgm:prSet/>
      <dgm:spPr/>
      <dgm:t>
        <a:bodyPr/>
        <a:lstStyle/>
        <a:p>
          <a:endParaRPr lang="fi-FI"/>
        </a:p>
      </dgm:t>
    </dgm:pt>
    <dgm:pt modelId="{F2DC8637-6949-41B4-9FCC-82FA477A38C3}">
      <dgm:prSet/>
      <dgm:spPr/>
      <dgm:t>
        <a:bodyPr/>
        <a:lstStyle/>
        <a:p>
          <a:r>
            <a:rPr lang="fi-FI"/>
            <a:t>Asiakkaan siirto palvelusta toiseen ja identiteetin tunnistaminen tässä prosessissa​</a:t>
          </a:r>
        </a:p>
      </dgm:t>
    </dgm:pt>
    <dgm:pt modelId="{70626F88-1CA9-479B-B2F1-66FE3C35FD89}" type="parTrans" cxnId="{24034407-5AE2-4381-8720-794F265C52F3}">
      <dgm:prSet/>
      <dgm:spPr/>
      <dgm:t>
        <a:bodyPr/>
        <a:lstStyle/>
        <a:p>
          <a:endParaRPr lang="fi-FI"/>
        </a:p>
      </dgm:t>
    </dgm:pt>
    <dgm:pt modelId="{41AD6A96-B508-4777-BFCD-3FB5F4663E4F}" type="sibTrans" cxnId="{24034407-5AE2-4381-8720-794F265C52F3}">
      <dgm:prSet/>
      <dgm:spPr/>
      <dgm:t>
        <a:bodyPr/>
        <a:lstStyle/>
        <a:p>
          <a:endParaRPr lang="fi-FI"/>
        </a:p>
      </dgm:t>
    </dgm:pt>
    <dgm:pt modelId="{5A5A9AD3-22E2-4D7E-8733-686FD7984313}">
      <dgm:prSet/>
      <dgm:spPr/>
      <dgm:t>
        <a:bodyPr/>
        <a:lstStyle/>
        <a:p>
          <a:r>
            <a:rPr lang="fi-FI"/>
            <a:t>Toiminnan-/</a:t>
          </a:r>
          <a:br>
            <a:rPr lang="fi-FI"/>
          </a:br>
          <a:r>
            <a:rPr lang="fi-FI"/>
            <a:t>tuotannonohjausjärjestelmä</a:t>
          </a:r>
        </a:p>
      </dgm:t>
    </dgm:pt>
    <dgm:pt modelId="{02AC0390-D216-4F19-AD91-3F6D0D19E1B8}" type="parTrans" cxnId="{FD93F7F1-2CBA-43F4-AC42-DD4033B04E6B}">
      <dgm:prSet/>
      <dgm:spPr/>
      <dgm:t>
        <a:bodyPr/>
        <a:lstStyle/>
        <a:p>
          <a:endParaRPr lang="fi-FI"/>
        </a:p>
      </dgm:t>
    </dgm:pt>
    <dgm:pt modelId="{F2EDC602-9E9B-4259-874E-0FA91930EAB5}" type="sibTrans" cxnId="{FD93F7F1-2CBA-43F4-AC42-DD4033B04E6B}">
      <dgm:prSet/>
      <dgm:spPr/>
      <dgm:t>
        <a:bodyPr/>
        <a:lstStyle/>
        <a:p>
          <a:endParaRPr lang="fi-FI"/>
        </a:p>
      </dgm:t>
    </dgm:pt>
    <dgm:pt modelId="{E9DFAC4E-E049-4A2D-8796-9063012ED250}">
      <dgm:prSet/>
      <dgm:spPr/>
      <dgm:t>
        <a:bodyPr/>
        <a:lstStyle/>
        <a:p>
          <a:r>
            <a:rPr lang="fi-FI"/>
            <a:t>Automatiikan ja robotiikan </a:t>
          </a:r>
          <a:br>
            <a:rPr lang="fi-FI"/>
          </a:br>
          <a:r>
            <a:rPr lang="fi-FI"/>
            <a:t>lisääminen toiminnassa</a:t>
          </a:r>
        </a:p>
      </dgm:t>
    </dgm:pt>
    <dgm:pt modelId="{12417410-34BD-49F5-B9EE-A156732BBF19}" type="parTrans" cxnId="{E981DBB6-B8F8-46C4-B538-4DF9D4D483E8}">
      <dgm:prSet/>
      <dgm:spPr/>
      <dgm:t>
        <a:bodyPr/>
        <a:lstStyle/>
        <a:p>
          <a:endParaRPr lang="fi-FI"/>
        </a:p>
      </dgm:t>
    </dgm:pt>
    <dgm:pt modelId="{A8EF903A-438B-4500-8BA0-28EF2229D474}" type="sibTrans" cxnId="{E981DBB6-B8F8-46C4-B538-4DF9D4D483E8}">
      <dgm:prSet/>
      <dgm:spPr/>
      <dgm:t>
        <a:bodyPr/>
        <a:lstStyle/>
        <a:p>
          <a:endParaRPr lang="fi-FI"/>
        </a:p>
      </dgm:t>
    </dgm:pt>
    <dgm:pt modelId="{B8BE5EB3-769D-4338-AA31-1C5768AEBABE}">
      <dgm:prSet/>
      <dgm:spPr/>
      <dgm:t>
        <a:bodyPr/>
        <a:lstStyle/>
        <a:p>
          <a:r>
            <a:rPr lang="fi-FI" b="0"/>
            <a:t>Sisäisten prosessien </a:t>
          </a:r>
          <a:br>
            <a:rPr lang="fi-FI" b="0"/>
          </a:br>
          <a:r>
            <a:rPr lang="fi-FI" b="0"/>
            <a:t>virtaviivaistaminen ja </a:t>
          </a:r>
          <a:br>
            <a:rPr lang="fi-FI" b="0"/>
          </a:br>
          <a:r>
            <a:rPr lang="fi-FI" b="0"/>
            <a:t>sähköistäminen</a:t>
          </a:r>
        </a:p>
      </dgm:t>
    </dgm:pt>
    <dgm:pt modelId="{369AB1FF-57C2-4A19-A0CB-F61BA7699283}" type="parTrans" cxnId="{BCA560C9-B241-4A61-BBBC-584E2CDFA0A1}">
      <dgm:prSet/>
      <dgm:spPr/>
      <dgm:t>
        <a:bodyPr/>
        <a:lstStyle/>
        <a:p>
          <a:endParaRPr lang="fi-FI"/>
        </a:p>
      </dgm:t>
    </dgm:pt>
    <dgm:pt modelId="{4186DF6A-4FF4-4669-9311-961244415AB2}" type="sibTrans" cxnId="{BCA560C9-B241-4A61-BBBC-584E2CDFA0A1}">
      <dgm:prSet/>
      <dgm:spPr/>
      <dgm:t>
        <a:bodyPr/>
        <a:lstStyle/>
        <a:p>
          <a:endParaRPr lang="fi-FI"/>
        </a:p>
      </dgm:t>
    </dgm:pt>
    <dgm:pt modelId="{28A0D39F-D52D-42FC-8AC3-0B880304C12C}">
      <dgm:prSet/>
      <dgm:spPr/>
      <dgm:t>
        <a:bodyPr/>
        <a:lstStyle/>
        <a:p>
          <a:r>
            <a:rPr lang="fi-FI"/>
            <a:t>Etätyö​</a:t>
          </a:r>
        </a:p>
      </dgm:t>
    </dgm:pt>
    <dgm:pt modelId="{9A4D73ED-F04B-42A5-B621-39159106D2B9}" type="parTrans" cxnId="{D59E077E-40E8-4B36-9160-112C9C550837}">
      <dgm:prSet/>
      <dgm:spPr/>
      <dgm:t>
        <a:bodyPr/>
        <a:lstStyle/>
        <a:p>
          <a:endParaRPr lang="fi-FI"/>
        </a:p>
      </dgm:t>
    </dgm:pt>
    <dgm:pt modelId="{12C6712A-4DB0-419B-AC46-535060B3C534}" type="sibTrans" cxnId="{D59E077E-40E8-4B36-9160-112C9C550837}">
      <dgm:prSet/>
      <dgm:spPr/>
      <dgm:t>
        <a:bodyPr/>
        <a:lstStyle/>
        <a:p>
          <a:endParaRPr lang="fi-FI"/>
        </a:p>
      </dgm:t>
    </dgm:pt>
    <dgm:pt modelId="{F4711AFA-4176-4B0B-B8D7-20CD3974DE98}">
      <dgm:prSet/>
      <dgm:spPr/>
      <dgm:t>
        <a:bodyPr/>
        <a:lstStyle/>
        <a:p>
          <a:r>
            <a:rPr lang="fi-FI"/>
            <a:t>Sopimushallinnan kokonaisuuden digitalisointi​</a:t>
          </a:r>
        </a:p>
      </dgm:t>
    </dgm:pt>
    <dgm:pt modelId="{10681E7C-3AF0-482D-A219-72623FC8DF89}" type="parTrans" cxnId="{8AB61488-14D8-4E95-9EAD-71BA5161A4CE}">
      <dgm:prSet/>
      <dgm:spPr/>
      <dgm:t>
        <a:bodyPr/>
        <a:lstStyle/>
        <a:p>
          <a:endParaRPr lang="fi-FI"/>
        </a:p>
      </dgm:t>
    </dgm:pt>
    <dgm:pt modelId="{B0A9A64F-669B-48BD-A17E-A0AD70875E9D}" type="sibTrans" cxnId="{8AB61488-14D8-4E95-9EAD-71BA5161A4CE}">
      <dgm:prSet/>
      <dgm:spPr/>
      <dgm:t>
        <a:bodyPr/>
        <a:lstStyle/>
        <a:p>
          <a:endParaRPr lang="fi-FI"/>
        </a:p>
      </dgm:t>
    </dgm:pt>
    <dgm:pt modelId="{C3F5A5FF-00C4-487F-8507-5EF77FB8722C}">
      <dgm:prSet/>
      <dgm:spPr/>
      <dgm:t>
        <a:bodyPr/>
        <a:lstStyle/>
        <a:p>
          <a:r>
            <a:rPr lang="fi-FI"/>
            <a:t>Ostopalveluiden </a:t>
          </a:r>
          <a:br>
            <a:rPr lang="fi-FI"/>
          </a:br>
          <a:r>
            <a:rPr lang="fi-FI"/>
            <a:t>sähköinen järjestelmä</a:t>
          </a:r>
        </a:p>
      </dgm:t>
    </dgm:pt>
    <dgm:pt modelId="{515AF257-10D6-470E-9AD0-84937167363F}" type="parTrans" cxnId="{F85846E3-59BA-4FC5-9E72-C9BAC0C5134C}">
      <dgm:prSet/>
      <dgm:spPr/>
      <dgm:t>
        <a:bodyPr/>
        <a:lstStyle/>
        <a:p>
          <a:endParaRPr lang="fi-FI"/>
        </a:p>
      </dgm:t>
    </dgm:pt>
    <dgm:pt modelId="{22203AB4-4819-4DBA-8320-97C4CD1285CE}" type="sibTrans" cxnId="{F85846E3-59BA-4FC5-9E72-C9BAC0C5134C}">
      <dgm:prSet/>
      <dgm:spPr/>
      <dgm:t>
        <a:bodyPr/>
        <a:lstStyle/>
        <a:p>
          <a:endParaRPr lang="fi-FI"/>
        </a:p>
      </dgm:t>
    </dgm:pt>
    <dgm:pt modelId="{07A964AB-1988-4C34-B336-B3FC95183F7B}">
      <dgm:prSet/>
      <dgm:spPr/>
      <dgm:t>
        <a:bodyPr/>
        <a:lstStyle/>
        <a:p>
          <a:r>
            <a:rPr lang="fi-FI"/>
            <a:t>Sosiaalityön data osaksi tiedolla johtamisen datapohjaa ja poiminnan automatisointi​</a:t>
          </a:r>
        </a:p>
      </dgm:t>
    </dgm:pt>
    <dgm:pt modelId="{3412FB27-A3E0-4FA0-B650-726A2F7F5054}" type="parTrans" cxnId="{EA37A9F2-2542-4B36-93AE-A335EB375687}">
      <dgm:prSet/>
      <dgm:spPr/>
      <dgm:t>
        <a:bodyPr/>
        <a:lstStyle/>
        <a:p>
          <a:endParaRPr lang="fi-FI"/>
        </a:p>
      </dgm:t>
    </dgm:pt>
    <dgm:pt modelId="{86B2EC50-7DB1-40E3-ADF8-29455A5C07FA}" type="sibTrans" cxnId="{EA37A9F2-2542-4B36-93AE-A335EB375687}">
      <dgm:prSet/>
      <dgm:spPr/>
      <dgm:t>
        <a:bodyPr/>
        <a:lstStyle/>
        <a:p>
          <a:endParaRPr lang="fi-FI"/>
        </a:p>
      </dgm:t>
    </dgm:pt>
    <dgm:pt modelId="{DFF12AE5-5AF3-4F73-A68F-BE5EFCCEF99F}">
      <dgm:prSet/>
      <dgm:spPr/>
      <dgm:t>
        <a:bodyPr/>
        <a:lstStyle/>
        <a:p>
          <a:r>
            <a:rPr lang="fi-FI"/>
            <a:t>Asiakas- ja potilasvirtojen analysointi ja mm. paljon palveluita käyttävien asiakkaiden tunnistaminen​</a:t>
          </a:r>
        </a:p>
      </dgm:t>
    </dgm:pt>
    <dgm:pt modelId="{49F0A103-E7F4-4D8F-900E-FC10AA3071F3}" type="parTrans" cxnId="{6B4DE090-5E98-4CF1-988B-EE7670A8DF94}">
      <dgm:prSet/>
      <dgm:spPr/>
      <dgm:t>
        <a:bodyPr/>
        <a:lstStyle/>
        <a:p>
          <a:endParaRPr lang="fi-FI"/>
        </a:p>
      </dgm:t>
    </dgm:pt>
    <dgm:pt modelId="{145FF086-AB94-4F94-9FF2-C43AAC529329}" type="sibTrans" cxnId="{6B4DE090-5E98-4CF1-988B-EE7670A8DF94}">
      <dgm:prSet/>
      <dgm:spPr/>
      <dgm:t>
        <a:bodyPr/>
        <a:lstStyle/>
        <a:p>
          <a:endParaRPr lang="fi-FI"/>
        </a:p>
      </dgm:t>
    </dgm:pt>
    <dgm:pt modelId="{C4CA4A6E-43F3-4AF9-883A-D850630C6CC7}">
      <dgm:prSet/>
      <dgm:spPr/>
      <dgm:t>
        <a:bodyPr/>
        <a:lstStyle/>
        <a:p>
          <a:r>
            <a:rPr lang="fi-FI"/>
            <a:t>Analytiikan kouluttaminen</a:t>
          </a:r>
        </a:p>
      </dgm:t>
    </dgm:pt>
    <dgm:pt modelId="{2773AF0A-5AB8-43CD-8A84-0A84068529AC}" type="parTrans" cxnId="{C2769FC9-F7DC-4B4D-A361-BE8D55C9B7BD}">
      <dgm:prSet/>
      <dgm:spPr/>
      <dgm:t>
        <a:bodyPr/>
        <a:lstStyle/>
        <a:p>
          <a:endParaRPr lang="fi-FI"/>
        </a:p>
      </dgm:t>
    </dgm:pt>
    <dgm:pt modelId="{2C1D5F6D-B80F-40B7-972A-117F6321DA23}" type="sibTrans" cxnId="{C2769FC9-F7DC-4B4D-A361-BE8D55C9B7BD}">
      <dgm:prSet/>
      <dgm:spPr/>
      <dgm:t>
        <a:bodyPr/>
        <a:lstStyle/>
        <a:p>
          <a:endParaRPr lang="fi-FI"/>
        </a:p>
      </dgm:t>
    </dgm:pt>
    <dgm:pt modelId="{B6372A2B-1BFA-401A-9AEC-C9010B4BC063}">
      <dgm:prSet phldrT="[Teksti]" custT="1"/>
      <dgm:spPr/>
      <dgm:t>
        <a:bodyPr/>
        <a:lstStyle/>
        <a:p>
          <a:r>
            <a:rPr lang="fi-FI" sz="1600"/>
            <a:t>Asiakasrajapinnan sähköiset palvelut</a:t>
          </a:r>
        </a:p>
      </dgm:t>
    </dgm:pt>
    <dgm:pt modelId="{9439BE4B-CF19-4B28-B9E9-66A1160F6834}" type="parTrans" cxnId="{2574708F-6958-42F0-A72B-EDBABB1E3A52}">
      <dgm:prSet/>
      <dgm:spPr/>
      <dgm:t>
        <a:bodyPr/>
        <a:lstStyle/>
        <a:p>
          <a:endParaRPr lang="fi-FI"/>
        </a:p>
      </dgm:t>
    </dgm:pt>
    <dgm:pt modelId="{45CF8965-4F40-45B1-B810-FA52D8F7B3D7}" type="sibTrans" cxnId="{2574708F-6958-42F0-A72B-EDBABB1E3A52}">
      <dgm:prSet/>
      <dgm:spPr/>
      <dgm:t>
        <a:bodyPr/>
        <a:lstStyle/>
        <a:p>
          <a:endParaRPr lang="fi-FI"/>
        </a:p>
      </dgm:t>
    </dgm:pt>
    <dgm:pt modelId="{AFF7B221-319F-40DD-B138-E463773076DF}">
      <dgm:prSet custT="1"/>
      <dgm:spPr/>
      <dgm:t>
        <a:bodyPr/>
        <a:lstStyle/>
        <a:p>
          <a:r>
            <a:rPr lang="fi-FI" sz="1600"/>
            <a:t>Sähköinen arkistointi</a:t>
          </a:r>
        </a:p>
      </dgm:t>
    </dgm:pt>
    <dgm:pt modelId="{6FE946CC-0A99-426D-8C0E-3EB2FFA151EB}" type="parTrans" cxnId="{5D9CA1F7-1FFF-41FB-927E-DD925ACBD0A5}">
      <dgm:prSet/>
      <dgm:spPr/>
      <dgm:t>
        <a:bodyPr/>
        <a:lstStyle/>
        <a:p>
          <a:endParaRPr lang="fi-FI"/>
        </a:p>
      </dgm:t>
    </dgm:pt>
    <dgm:pt modelId="{E61125EA-3F6E-43BC-AEEA-C2132EC6BC0F}" type="sibTrans" cxnId="{5D9CA1F7-1FFF-41FB-927E-DD925ACBD0A5}">
      <dgm:prSet/>
      <dgm:spPr/>
      <dgm:t>
        <a:bodyPr/>
        <a:lstStyle/>
        <a:p>
          <a:endParaRPr lang="fi-FI"/>
        </a:p>
      </dgm:t>
    </dgm:pt>
    <dgm:pt modelId="{89643232-57B8-420E-8FF0-9C2F3CB3991F}">
      <dgm:prSet custT="1"/>
      <dgm:spPr/>
      <dgm:t>
        <a:bodyPr/>
        <a:lstStyle/>
        <a:p>
          <a:r>
            <a:rPr lang="fi-FI" sz="1600"/>
            <a:t>Toiminnan ohjaus</a:t>
          </a:r>
        </a:p>
      </dgm:t>
    </dgm:pt>
    <dgm:pt modelId="{1ED0E59C-A0CC-45C7-973E-3B1B4DFF48FA}" type="parTrans" cxnId="{8F3D710A-F284-4545-AA94-E0014326595B}">
      <dgm:prSet/>
      <dgm:spPr/>
      <dgm:t>
        <a:bodyPr/>
        <a:lstStyle/>
        <a:p>
          <a:endParaRPr lang="fi-FI"/>
        </a:p>
      </dgm:t>
    </dgm:pt>
    <dgm:pt modelId="{8486585B-6B2E-4E22-AB09-C21E6605339A}" type="sibTrans" cxnId="{8F3D710A-F284-4545-AA94-E0014326595B}">
      <dgm:prSet/>
      <dgm:spPr/>
      <dgm:t>
        <a:bodyPr/>
        <a:lstStyle/>
        <a:p>
          <a:endParaRPr lang="fi-FI"/>
        </a:p>
      </dgm:t>
    </dgm:pt>
    <dgm:pt modelId="{8A8F2D78-958B-456B-94C2-00A6FB8F588F}">
      <dgm:prSet custT="1"/>
      <dgm:spPr/>
      <dgm:t>
        <a:bodyPr/>
        <a:lstStyle/>
        <a:p>
          <a:r>
            <a:rPr lang="fi-FI" sz="1600"/>
            <a:t>Digitaalinen hallinto ja työympäristö</a:t>
          </a:r>
        </a:p>
      </dgm:t>
    </dgm:pt>
    <dgm:pt modelId="{D4593209-20E4-4274-9061-7C03D7E7741A}" type="parTrans" cxnId="{CBFE6ED4-0ACB-47A4-BF21-3484208910D9}">
      <dgm:prSet/>
      <dgm:spPr/>
      <dgm:t>
        <a:bodyPr/>
        <a:lstStyle/>
        <a:p>
          <a:endParaRPr lang="fi-FI"/>
        </a:p>
      </dgm:t>
    </dgm:pt>
    <dgm:pt modelId="{0D989863-2FE3-40AD-8481-D0ABE18A8F2B}" type="sibTrans" cxnId="{CBFE6ED4-0ACB-47A4-BF21-3484208910D9}">
      <dgm:prSet/>
      <dgm:spPr/>
      <dgm:t>
        <a:bodyPr/>
        <a:lstStyle/>
        <a:p>
          <a:endParaRPr lang="fi-FI"/>
        </a:p>
      </dgm:t>
    </dgm:pt>
    <dgm:pt modelId="{93540CD0-4987-4FDF-AB45-6A8233C323D3}">
      <dgm:prSet custT="1"/>
      <dgm:spPr/>
      <dgm:t>
        <a:bodyPr/>
        <a:lstStyle/>
        <a:p>
          <a:r>
            <a:rPr lang="fi-FI" sz="1600"/>
            <a:t>Tiedolla johtaminen ja toimiminen</a:t>
          </a:r>
        </a:p>
      </dgm:t>
    </dgm:pt>
    <dgm:pt modelId="{67E7A615-3868-4448-B40E-2B51C6F43609}" type="parTrans" cxnId="{EFFC81D4-3ED4-47E2-91B8-0BEB1FEC6FC6}">
      <dgm:prSet/>
      <dgm:spPr/>
      <dgm:t>
        <a:bodyPr/>
        <a:lstStyle/>
        <a:p>
          <a:endParaRPr lang="fi-FI"/>
        </a:p>
      </dgm:t>
    </dgm:pt>
    <dgm:pt modelId="{0E373988-ACCA-45CB-B8A9-F3FAF59A3FEA}" type="sibTrans" cxnId="{EFFC81D4-3ED4-47E2-91B8-0BEB1FEC6FC6}">
      <dgm:prSet/>
      <dgm:spPr/>
      <dgm:t>
        <a:bodyPr/>
        <a:lstStyle/>
        <a:p>
          <a:endParaRPr lang="fi-FI"/>
        </a:p>
      </dgm:t>
    </dgm:pt>
    <dgm:pt modelId="{BADE6DB6-D09A-489D-80F2-BF3E958514D4}">
      <dgm:prSet/>
      <dgm:spPr/>
      <dgm:t>
        <a:bodyPr/>
        <a:lstStyle/>
        <a:p>
          <a:r>
            <a:rPr lang="fi-FI"/>
            <a:t>Toimintalähtöinen </a:t>
          </a:r>
          <a:br>
            <a:rPr lang="fi-FI"/>
          </a:br>
          <a:r>
            <a:rPr lang="fi-FI"/>
            <a:t>työvuorosuunnittelu</a:t>
          </a:r>
        </a:p>
      </dgm:t>
    </dgm:pt>
    <dgm:pt modelId="{A303D67A-30B3-48C8-889A-8BA4F89D5362}" type="parTrans" cxnId="{4451BBC2-5817-486A-8FF8-5F414DA42A65}">
      <dgm:prSet/>
      <dgm:spPr/>
      <dgm:t>
        <a:bodyPr/>
        <a:lstStyle/>
        <a:p>
          <a:endParaRPr lang="fi-FI"/>
        </a:p>
      </dgm:t>
    </dgm:pt>
    <dgm:pt modelId="{15C1AED5-16E7-4467-9509-EE6F77F6F336}" type="sibTrans" cxnId="{4451BBC2-5817-486A-8FF8-5F414DA42A65}">
      <dgm:prSet/>
      <dgm:spPr/>
      <dgm:t>
        <a:bodyPr/>
        <a:lstStyle/>
        <a:p>
          <a:endParaRPr lang="fi-FI"/>
        </a:p>
      </dgm:t>
    </dgm:pt>
    <dgm:pt modelId="{305EA80D-BFAA-4779-92DF-90393B6E9121}">
      <dgm:prSet/>
      <dgm:spPr/>
      <dgm:t>
        <a:bodyPr/>
        <a:lstStyle/>
        <a:p>
          <a:r>
            <a:rPr lang="fi-FI" b="0"/>
            <a:t>Automaattinen päätöksenteko</a:t>
          </a:r>
        </a:p>
      </dgm:t>
    </dgm:pt>
    <dgm:pt modelId="{3952F1E0-4DFF-4796-A2EA-3FB6B391AB3F}" type="parTrans" cxnId="{BBCB94CA-B261-4782-BAA0-674928BB7C62}">
      <dgm:prSet/>
      <dgm:spPr/>
      <dgm:t>
        <a:bodyPr/>
        <a:lstStyle/>
        <a:p>
          <a:endParaRPr lang="fi-FI"/>
        </a:p>
      </dgm:t>
    </dgm:pt>
    <dgm:pt modelId="{97F8DCF9-858E-4D6C-8355-81DD0F3FBB08}" type="sibTrans" cxnId="{BBCB94CA-B261-4782-BAA0-674928BB7C62}">
      <dgm:prSet/>
      <dgm:spPr/>
      <dgm:t>
        <a:bodyPr/>
        <a:lstStyle/>
        <a:p>
          <a:endParaRPr lang="fi-FI"/>
        </a:p>
      </dgm:t>
    </dgm:pt>
    <dgm:pt modelId="{70E60703-8FE7-46E8-A447-3D98C00F09F8}">
      <dgm:prSet/>
      <dgm:spPr/>
      <dgm:t>
        <a:bodyPr/>
        <a:lstStyle/>
        <a:p>
          <a:r>
            <a:rPr lang="fi-FI"/>
            <a:t>Olemassa olevan ja tarvittavan </a:t>
          </a:r>
          <a:br>
            <a:rPr lang="fi-FI"/>
          </a:br>
          <a:r>
            <a:rPr lang="fi-FI"/>
            <a:t>tiedon tunnistaminen​</a:t>
          </a:r>
        </a:p>
      </dgm:t>
    </dgm:pt>
    <dgm:pt modelId="{0F5B7B36-4980-4DBB-BCBB-CF092DA7DEB2}" type="parTrans" cxnId="{05D9A9CA-F3D1-4ABC-AE74-9128A02DFDFD}">
      <dgm:prSet/>
      <dgm:spPr/>
      <dgm:t>
        <a:bodyPr/>
        <a:lstStyle/>
        <a:p>
          <a:endParaRPr lang="fi-FI"/>
        </a:p>
      </dgm:t>
    </dgm:pt>
    <dgm:pt modelId="{980C534A-4E79-49CA-82BB-DECA85255FA1}" type="sibTrans" cxnId="{05D9A9CA-F3D1-4ABC-AE74-9128A02DFDFD}">
      <dgm:prSet/>
      <dgm:spPr/>
      <dgm:t>
        <a:bodyPr/>
        <a:lstStyle/>
        <a:p>
          <a:endParaRPr lang="fi-FI"/>
        </a:p>
      </dgm:t>
    </dgm:pt>
    <dgm:pt modelId="{7E7511D4-F9E7-4DA0-ADC6-9C76B0C6AF1D}" type="pres">
      <dgm:prSet presAssocID="{F9CFA0E1-B5F8-4854-A16A-881F44865EC1}" presName="theList" presStyleCnt="0">
        <dgm:presLayoutVars>
          <dgm:dir/>
          <dgm:animLvl val="lvl"/>
          <dgm:resizeHandles val="exact"/>
        </dgm:presLayoutVars>
      </dgm:prSet>
      <dgm:spPr/>
    </dgm:pt>
    <dgm:pt modelId="{EB827DEA-78B2-4EC4-8D0C-B7E1475F8FCE}" type="pres">
      <dgm:prSet presAssocID="{B6372A2B-1BFA-401A-9AEC-C9010B4BC063}" presName="compNode" presStyleCnt="0"/>
      <dgm:spPr/>
    </dgm:pt>
    <dgm:pt modelId="{ED22D33A-C07C-4EC9-8C5A-10C255ADFC80}" type="pres">
      <dgm:prSet presAssocID="{B6372A2B-1BFA-401A-9AEC-C9010B4BC063}" presName="aNode" presStyleLbl="bgShp" presStyleIdx="0" presStyleCnt="5"/>
      <dgm:spPr/>
    </dgm:pt>
    <dgm:pt modelId="{10BC2675-3DC8-4B14-94DC-898C468ECC75}" type="pres">
      <dgm:prSet presAssocID="{B6372A2B-1BFA-401A-9AEC-C9010B4BC063}" presName="textNode" presStyleLbl="bgShp" presStyleIdx="0" presStyleCnt="5"/>
      <dgm:spPr/>
    </dgm:pt>
    <dgm:pt modelId="{B423A7B9-5DF7-482F-935F-4F132D3DC2ED}" type="pres">
      <dgm:prSet presAssocID="{B6372A2B-1BFA-401A-9AEC-C9010B4BC063}" presName="compChildNode" presStyleCnt="0"/>
      <dgm:spPr/>
    </dgm:pt>
    <dgm:pt modelId="{55D429E9-9072-4FF6-8BB3-553DE8ED290B}" type="pres">
      <dgm:prSet presAssocID="{B6372A2B-1BFA-401A-9AEC-C9010B4BC063}" presName="theInnerList" presStyleCnt="0"/>
      <dgm:spPr/>
    </dgm:pt>
    <dgm:pt modelId="{921EBD65-F687-43D7-B906-3CBE59A03C77}" type="pres">
      <dgm:prSet presAssocID="{4168F9AF-9974-46CD-8132-BB1B626EC2EA}" presName="childNode" presStyleLbl="node1" presStyleIdx="0" presStyleCnt="23">
        <dgm:presLayoutVars>
          <dgm:bulletEnabled val="1"/>
        </dgm:presLayoutVars>
      </dgm:prSet>
      <dgm:spPr/>
    </dgm:pt>
    <dgm:pt modelId="{74DA8897-36FC-4467-98CA-18A8DE92B4E4}" type="pres">
      <dgm:prSet presAssocID="{4168F9AF-9974-46CD-8132-BB1B626EC2EA}" presName="aSpace2" presStyleCnt="0"/>
      <dgm:spPr/>
    </dgm:pt>
    <dgm:pt modelId="{C4B8B6D4-D2E2-4EEF-80A3-BEC091798FA3}" type="pres">
      <dgm:prSet presAssocID="{388AC338-ADF7-4773-90EF-25033CFDB8DF}" presName="childNode" presStyleLbl="node1" presStyleIdx="1" presStyleCnt="23">
        <dgm:presLayoutVars>
          <dgm:bulletEnabled val="1"/>
        </dgm:presLayoutVars>
      </dgm:prSet>
      <dgm:spPr/>
    </dgm:pt>
    <dgm:pt modelId="{D0AA073F-EE24-4704-98FF-841BC80D3526}" type="pres">
      <dgm:prSet presAssocID="{388AC338-ADF7-4773-90EF-25033CFDB8DF}" presName="aSpace2" presStyleCnt="0"/>
      <dgm:spPr/>
    </dgm:pt>
    <dgm:pt modelId="{D026FC47-64EC-4D3D-93C9-1196F326E019}" type="pres">
      <dgm:prSet presAssocID="{2059B89A-340E-4B92-B567-DBAEA2ADB46C}" presName="childNode" presStyleLbl="node1" presStyleIdx="2" presStyleCnt="23">
        <dgm:presLayoutVars>
          <dgm:bulletEnabled val="1"/>
        </dgm:presLayoutVars>
      </dgm:prSet>
      <dgm:spPr/>
    </dgm:pt>
    <dgm:pt modelId="{1E4703DA-5BB8-44BD-A01B-DC8150DD0770}" type="pres">
      <dgm:prSet presAssocID="{2059B89A-340E-4B92-B567-DBAEA2ADB46C}" presName="aSpace2" presStyleCnt="0"/>
      <dgm:spPr/>
    </dgm:pt>
    <dgm:pt modelId="{0B3B5992-3116-4F0F-8BB7-7CD16530BB42}" type="pres">
      <dgm:prSet presAssocID="{3F937F9D-5895-4FCB-B5C8-506C35992530}" presName="childNode" presStyleLbl="node1" presStyleIdx="3" presStyleCnt="23">
        <dgm:presLayoutVars>
          <dgm:bulletEnabled val="1"/>
        </dgm:presLayoutVars>
      </dgm:prSet>
      <dgm:spPr/>
    </dgm:pt>
    <dgm:pt modelId="{242FF487-E45A-4A85-B748-AC01D896A7F2}" type="pres">
      <dgm:prSet presAssocID="{3F937F9D-5895-4FCB-B5C8-506C35992530}" presName="aSpace2" presStyleCnt="0"/>
      <dgm:spPr/>
    </dgm:pt>
    <dgm:pt modelId="{C3D754FF-8B4D-48B0-B9DD-6CCAD3646D4F}" type="pres">
      <dgm:prSet presAssocID="{97DE17D7-6436-464E-9F54-A6D2CA34609D}" presName="childNode" presStyleLbl="node1" presStyleIdx="4" presStyleCnt="23">
        <dgm:presLayoutVars>
          <dgm:bulletEnabled val="1"/>
        </dgm:presLayoutVars>
      </dgm:prSet>
      <dgm:spPr/>
    </dgm:pt>
    <dgm:pt modelId="{C48C9BF5-B5D0-42D0-B087-4DD909B1E619}" type="pres">
      <dgm:prSet presAssocID="{97DE17D7-6436-464E-9F54-A6D2CA34609D}" presName="aSpace2" presStyleCnt="0"/>
      <dgm:spPr/>
    </dgm:pt>
    <dgm:pt modelId="{A5B21FF8-2135-4D84-A71C-CDAF736FCFAB}" type="pres">
      <dgm:prSet presAssocID="{0F18B67F-652A-47DE-AC5C-682E8AD4D439}" presName="childNode" presStyleLbl="node1" presStyleIdx="5" presStyleCnt="23">
        <dgm:presLayoutVars>
          <dgm:bulletEnabled val="1"/>
        </dgm:presLayoutVars>
      </dgm:prSet>
      <dgm:spPr/>
    </dgm:pt>
    <dgm:pt modelId="{F7EB55C8-8B82-44B9-82BE-DA43C51151CE}" type="pres">
      <dgm:prSet presAssocID="{0F18B67F-652A-47DE-AC5C-682E8AD4D439}" presName="aSpace2" presStyleCnt="0"/>
      <dgm:spPr/>
    </dgm:pt>
    <dgm:pt modelId="{4ED4DA7F-37B9-420D-BCB8-37B027C834EF}" type="pres">
      <dgm:prSet presAssocID="{57B4AEE6-E1C3-4E81-9D1E-0B3EF45FB39B}" presName="childNode" presStyleLbl="node1" presStyleIdx="6" presStyleCnt="23">
        <dgm:presLayoutVars>
          <dgm:bulletEnabled val="1"/>
        </dgm:presLayoutVars>
      </dgm:prSet>
      <dgm:spPr/>
    </dgm:pt>
    <dgm:pt modelId="{210330AB-607B-4E55-912C-EC529F2EE36B}" type="pres">
      <dgm:prSet presAssocID="{57B4AEE6-E1C3-4E81-9D1E-0B3EF45FB39B}" presName="aSpace2" presStyleCnt="0"/>
      <dgm:spPr/>
    </dgm:pt>
    <dgm:pt modelId="{7047B533-F2D2-40E9-879B-44924901FEDD}" type="pres">
      <dgm:prSet presAssocID="{83C7D734-0751-4B84-B00A-A903F1E27399}" presName="childNode" presStyleLbl="node1" presStyleIdx="7" presStyleCnt="23">
        <dgm:presLayoutVars>
          <dgm:bulletEnabled val="1"/>
        </dgm:presLayoutVars>
      </dgm:prSet>
      <dgm:spPr/>
    </dgm:pt>
    <dgm:pt modelId="{971BF53D-AB78-4560-8EF5-64B9D6AAB7A4}" type="pres">
      <dgm:prSet presAssocID="{B6372A2B-1BFA-401A-9AEC-C9010B4BC063}" presName="aSpace" presStyleCnt="0"/>
      <dgm:spPr/>
    </dgm:pt>
    <dgm:pt modelId="{462BBBC8-C2BE-48CA-95A1-0B038F6F3B00}" type="pres">
      <dgm:prSet presAssocID="{AFF7B221-319F-40DD-B138-E463773076DF}" presName="compNode" presStyleCnt="0"/>
      <dgm:spPr/>
    </dgm:pt>
    <dgm:pt modelId="{06FA3C38-D0E1-468F-A4A8-3AF764B790FF}" type="pres">
      <dgm:prSet presAssocID="{AFF7B221-319F-40DD-B138-E463773076DF}" presName="aNode" presStyleLbl="bgShp" presStyleIdx="1" presStyleCnt="5"/>
      <dgm:spPr/>
    </dgm:pt>
    <dgm:pt modelId="{783B3391-9645-42D7-B8E9-27111DC0D4DF}" type="pres">
      <dgm:prSet presAssocID="{AFF7B221-319F-40DD-B138-E463773076DF}" presName="textNode" presStyleLbl="bgShp" presStyleIdx="1" presStyleCnt="5"/>
      <dgm:spPr/>
    </dgm:pt>
    <dgm:pt modelId="{792B9053-B02B-44DC-A6EB-7C8ACF9A8221}" type="pres">
      <dgm:prSet presAssocID="{AFF7B221-319F-40DD-B138-E463773076DF}" presName="compChildNode" presStyleCnt="0"/>
      <dgm:spPr/>
    </dgm:pt>
    <dgm:pt modelId="{1D3054DE-80A3-43BC-BA9D-253178561FE7}" type="pres">
      <dgm:prSet presAssocID="{AFF7B221-319F-40DD-B138-E463773076DF}" presName="theInnerList" presStyleCnt="0"/>
      <dgm:spPr/>
    </dgm:pt>
    <dgm:pt modelId="{D509728D-6BB3-4829-B9F9-9FFF61E97AE3}" type="pres">
      <dgm:prSet presAssocID="{872B5743-DE20-4974-AF8D-27FA9690836B}" presName="childNode" presStyleLbl="node1" presStyleIdx="8" presStyleCnt="23">
        <dgm:presLayoutVars>
          <dgm:bulletEnabled val="1"/>
        </dgm:presLayoutVars>
      </dgm:prSet>
      <dgm:spPr/>
    </dgm:pt>
    <dgm:pt modelId="{55D61A81-E436-47B8-AED1-3C36B88ACD3B}" type="pres">
      <dgm:prSet presAssocID="{AFF7B221-319F-40DD-B138-E463773076DF}" presName="aSpace" presStyleCnt="0"/>
      <dgm:spPr/>
    </dgm:pt>
    <dgm:pt modelId="{F5203358-0D7D-4DEA-9011-4DA158DCE711}" type="pres">
      <dgm:prSet presAssocID="{89643232-57B8-420E-8FF0-9C2F3CB3991F}" presName="compNode" presStyleCnt="0"/>
      <dgm:spPr/>
    </dgm:pt>
    <dgm:pt modelId="{82C9BB27-AC60-4A01-83B0-DADC643FDBC3}" type="pres">
      <dgm:prSet presAssocID="{89643232-57B8-420E-8FF0-9C2F3CB3991F}" presName="aNode" presStyleLbl="bgShp" presStyleIdx="2" presStyleCnt="5"/>
      <dgm:spPr/>
    </dgm:pt>
    <dgm:pt modelId="{1AA2F084-8E55-4E73-AF75-1316F0281BB6}" type="pres">
      <dgm:prSet presAssocID="{89643232-57B8-420E-8FF0-9C2F3CB3991F}" presName="textNode" presStyleLbl="bgShp" presStyleIdx="2" presStyleCnt="5"/>
      <dgm:spPr/>
    </dgm:pt>
    <dgm:pt modelId="{B5D0779B-17E1-4101-9FB8-064C82352E18}" type="pres">
      <dgm:prSet presAssocID="{89643232-57B8-420E-8FF0-9C2F3CB3991F}" presName="compChildNode" presStyleCnt="0"/>
      <dgm:spPr/>
    </dgm:pt>
    <dgm:pt modelId="{378097D3-3798-44EF-A91E-22BE66449642}" type="pres">
      <dgm:prSet presAssocID="{89643232-57B8-420E-8FF0-9C2F3CB3991F}" presName="theInnerList" presStyleCnt="0"/>
      <dgm:spPr/>
    </dgm:pt>
    <dgm:pt modelId="{5987A413-C779-4E39-B772-A843FA81338F}" type="pres">
      <dgm:prSet presAssocID="{BADE6DB6-D09A-489D-80F2-BF3E958514D4}" presName="childNode" presStyleLbl="node1" presStyleIdx="9" presStyleCnt="23">
        <dgm:presLayoutVars>
          <dgm:bulletEnabled val="1"/>
        </dgm:presLayoutVars>
      </dgm:prSet>
      <dgm:spPr/>
    </dgm:pt>
    <dgm:pt modelId="{D4CE847A-3C91-4777-9E9B-40916C540D2D}" type="pres">
      <dgm:prSet presAssocID="{BADE6DB6-D09A-489D-80F2-BF3E958514D4}" presName="aSpace2" presStyleCnt="0"/>
      <dgm:spPr/>
    </dgm:pt>
    <dgm:pt modelId="{E31CFFF1-459E-4F33-B4BC-C2EBC66A8FEA}" type="pres">
      <dgm:prSet presAssocID="{7F4BC043-AD6F-43A9-8EF6-62E9987307A2}" presName="childNode" presStyleLbl="node1" presStyleIdx="10" presStyleCnt="23">
        <dgm:presLayoutVars>
          <dgm:bulletEnabled val="1"/>
        </dgm:presLayoutVars>
      </dgm:prSet>
      <dgm:spPr/>
    </dgm:pt>
    <dgm:pt modelId="{92F1E468-8D1F-4A0B-985D-7F2C363E248C}" type="pres">
      <dgm:prSet presAssocID="{7F4BC043-AD6F-43A9-8EF6-62E9987307A2}" presName="aSpace2" presStyleCnt="0"/>
      <dgm:spPr/>
    </dgm:pt>
    <dgm:pt modelId="{3BF083A0-DCCE-4CBF-8E94-2D5980858733}" type="pres">
      <dgm:prSet presAssocID="{F2DC8637-6949-41B4-9FCC-82FA477A38C3}" presName="childNode" presStyleLbl="node1" presStyleIdx="11" presStyleCnt="23">
        <dgm:presLayoutVars>
          <dgm:bulletEnabled val="1"/>
        </dgm:presLayoutVars>
      </dgm:prSet>
      <dgm:spPr/>
    </dgm:pt>
    <dgm:pt modelId="{0419B829-15E7-4597-A03B-B8A353D93CF2}" type="pres">
      <dgm:prSet presAssocID="{F2DC8637-6949-41B4-9FCC-82FA477A38C3}" presName="aSpace2" presStyleCnt="0"/>
      <dgm:spPr/>
    </dgm:pt>
    <dgm:pt modelId="{23E90D8F-F9CE-4441-989D-9058306EB6E7}" type="pres">
      <dgm:prSet presAssocID="{5A5A9AD3-22E2-4D7E-8733-686FD7984313}" presName="childNode" presStyleLbl="node1" presStyleIdx="12" presStyleCnt="23">
        <dgm:presLayoutVars>
          <dgm:bulletEnabled val="1"/>
        </dgm:presLayoutVars>
      </dgm:prSet>
      <dgm:spPr/>
    </dgm:pt>
    <dgm:pt modelId="{0835934B-783E-4EE2-924D-205CA3229F1F}" type="pres">
      <dgm:prSet presAssocID="{5A5A9AD3-22E2-4D7E-8733-686FD7984313}" presName="aSpace2" presStyleCnt="0"/>
      <dgm:spPr/>
    </dgm:pt>
    <dgm:pt modelId="{1C472AC2-B9CE-425C-B478-EDF8DF758F26}" type="pres">
      <dgm:prSet presAssocID="{E9DFAC4E-E049-4A2D-8796-9063012ED250}" presName="childNode" presStyleLbl="node1" presStyleIdx="13" presStyleCnt="23">
        <dgm:presLayoutVars>
          <dgm:bulletEnabled val="1"/>
        </dgm:presLayoutVars>
      </dgm:prSet>
      <dgm:spPr/>
    </dgm:pt>
    <dgm:pt modelId="{6B939D26-AC56-4F8E-A478-02C739AA69C7}" type="pres">
      <dgm:prSet presAssocID="{89643232-57B8-420E-8FF0-9C2F3CB3991F}" presName="aSpace" presStyleCnt="0"/>
      <dgm:spPr/>
    </dgm:pt>
    <dgm:pt modelId="{EC5212D8-1B64-443D-A61B-06E9AFCC1904}" type="pres">
      <dgm:prSet presAssocID="{8A8F2D78-958B-456B-94C2-00A6FB8F588F}" presName="compNode" presStyleCnt="0"/>
      <dgm:spPr/>
    </dgm:pt>
    <dgm:pt modelId="{2894B579-C70F-4567-ABF5-0FBEC776335B}" type="pres">
      <dgm:prSet presAssocID="{8A8F2D78-958B-456B-94C2-00A6FB8F588F}" presName="aNode" presStyleLbl="bgShp" presStyleIdx="3" presStyleCnt="5"/>
      <dgm:spPr/>
    </dgm:pt>
    <dgm:pt modelId="{DA3A2666-7F38-49C5-9615-1DA667A2C414}" type="pres">
      <dgm:prSet presAssocID="{8A8F2D78-958B-456B-94C2-00A6FB8F588F}" presName="textNode" presStyleLbl="bgShp" presStyleIdx="3" presStyleCnt="5"/>
      <dgm:spPr/>
    </dgm:pt>
    <dgm:pt modelId="{07B395CD-E786-472C-877F-0E8278B8113A}" type="pres">
      <dgm:prSet presAssocID="{8A8F2D78-958B-456B-94C2-00A6FB8F588F}" presName="compChildNode" presStyleCnt="0"/>
      <dgm:spPr/>
    </dgm:pt>
    <dgm:pt modelId="{5025D9FE-41BE-4FF4-B78E-37B77C1FCCC5}" type="pres">
      <dgm:prSet presAssocID="{8A8F2D78-958B-456B-94C2-00A6FB8F588F}" presName="theInnerList" presStyleCnt="0"/>
      <dgm:spPr/>
    </dgm:pt>
    <dgm:pt modelId="{D59D40E1-0985-4F51-8FE8-28B7ED389296}" type="pres">
      <dgm:prSet presAssocID="{305EA80D-BFAA-4779-92DF-90393B6E9121}" presName="childNode" presStyleLbl="node1" presStyleIdx="14" presStyleCnt="23">
        <dgm:presLayoutVars>
          <dgm:bulletEnabled val="1"/>
        </dgm:presLayoutVars>
      </dgm:prSet>
      <dgm:spPr/>
    </dgm:pt>
    <dgm:pt modelId="{F7CCF109-42BA-4580-B61B-B31E82E6563C}" type="pres">
      <dgm:prSet presAssocID="{305EA80D-BFAA-4779-92DF-90393B6E9121}" presName="aSpace2" presStyleCnt="0"/>
      <dgm:spPr/>
    </dgm:pt>
    <dgm:pt modelId="{571A0516-9AC9-4AB7-8F6A-A6FD96D5B4FB}" type="pres">
      <dgm:prSet presAssocID="{B8BE5EB3-769D-4338-AA31-1C5768AEBABE}" presName="childNode" presStyleLbl="node1" presStyleIdx="15" presStyleCnt="23">
        <dgm:presLayoutVars>
          <dgm:bulletEnabled val="1"/>
        </dgm:presLayoutVars>
      </dgm:prSet>
      <dgm:spPr/>
    </dgm:pt>
    <dgm:pt modelId="{ED60729B-30BC-430F-884C-FAE48B690215}" type="pres">
      <dgm:prSet presAssocID="{B8BE5EB3-769D-4338-AA31-1C5768AEBABE}" presName="aSpace2" presStyleCnt="0"/>
      <dgm:spPr/>
    </dgm:pt>
    <dgm:pt modelId="{3963C424-BD05-47B3-8B47-F627B04CD9E6}" type="pres">
      <dgm:prSet presAssocID="{28A0D39F-D52D-42FC-8AC3-0B880304C12C}" presName="childNode" presStyleLbl="node1" presStyleIdx="16" presStyleCnt="23">
        <dgm:presLayoutVars>
          <dgm:bulletEnabled val="1"/>
        </dgm:presLayoutVars>
      </dgm:prSet>
      <dgm:spPr/>
    </dgm:pt>
    <dgm:pt modelId="{06AD39C4-5AAE-4202-BF9B-116E00C63C5D}" type="pres">
      <dgm:prSet presAssocID="{28A0D39F-D52D-42FC-8AC3-0B880304C12C}" presName="aSpace2" presStyleCnt="0"/>
      <dgm:spPr/>
    </dgm:pt>
    <dgm:pt modelId="{4A6C3E54-8786-4FD9-990E-DCBD7B79B549}" type="pres">
      <dgm:prSet presAssocID="{F4711AFA-4176-4B0B-B8D7-20CD3974DE98}" presName="childNode" presStyleLbl="node1" presStyleIdx="17" presStyleCnt="23">
        <dgm:presLayoutVars>
          <dgm:bulletEnabled val="1"/>
        </dgm:presLayoutVars>
      </dgm:prSet>
      <dgm:spPr/>
    </dgm:pt>
    <dgm:pt modelId="{C9ACC00F-0AF8-4AE5-95EC-DD3F58EB8D0F}" type="pres">
      <dgm:prSet presAssocID="{F4711AFA-4176-4B0B-B8D7-20CD3974DE98}" presName="aSpace2" presStyleCnt="0"/>
      <dgm:spPr/>
    </dgm:pt>
    <dgm:pt modelId="{8252AD0F-FD64-47C2-AF4F-98A839025C17}" type="pres">
      <dgm:prSet presAssocID="{C3F5A5FF-00C4-487F-8507-5EF77FB8722C}" presName="childNode" presStyleLbl="node1" presStyleIdx="18" presStyleCnt="23">
        <dgm:presLayoutVars>
          <dgm:bulletEnabled val="1"/>
        </dgm:presLayoutVars>
      </dgm:prSet>
      <dgm:spPr/>
    </dgm:pt>
    <dgm:pt modelId="{BB86F84A-A6B6-4050-B93A-657334EC4ED9}" type="pres">
      <dgm:prSet presAssocID="{8A8F2D78-958B-456B-94C2-00A6FB8F588F}" presName="aSpace" presStyleCnt="0"/>
      <dgm:spPr/>
    </dgm:pt>
    <dgm:pt modelId="{81C4F848-7108-405A-9EDD-79CF78C683B6}" type="pres">
      <dgm:prSet presAssocID="{93540CD0-4987-4FDF-AB45-6A8233C323D3}" presName="compNode" presStyleCnt="0"/>
      <dgm:spPr/>
    </dgm:pt>
    <dgm:pt modelId="{3D651EFC-965E-4244-962F-CFF4E80627A1}" type="pres">
      <dgm:prSet presAssocID="{93540CD0-4987-4FDF-AB45-6A8233C323D3}" presName="aNode" presStyleLbl="bgShp" presStyleIdx="4" presStyleCnt="5"/>
      <dgm:spPr/>
    </dgm:pt>
    <dgm:pt modelId="{F9A4FB98-6A04-4195-B4FC-0A625DC82A45}" type="pres">
      <dgm:prSet presAssocID="{93540CD0-4987-4FDF-AB45-6A8233C323D3}" presName="textNode" presStyleLbl="bgShp" presStyleIdx="4" presStyleCnt="5"/>
      <dgm:spPr/>
    </dgm:pt>
    <dgm:pt modelId="{55E04D2D-D841-4F60-8AD4-BE089909F68A}" type="pres">
      <dgm:prSet presAssocID="{93540CD0-4987-4FDF-AB45-6A8233C323D3}" presName="compChildNode" presStyleCnt="0"/>
      <dgm:spPr/>
    </dgm:pt>
    <dgm:pt modelId="{92C881F1-C49F-4BBC-9ED0-C34C1E2AA3DA}" type="pres">
      <dgm:prSet presAssocID="{93540CD0-4987-4FDF-AB45-6A8233C323D3}" presName="theInnerList" presStyleCnt="0"/>
      <dgm:spPr/>
    </dgm:pt>
    <dgm:pt modelId="{811C5ECB-FC85-40B5-AB47-A975C16A7C09}" type="pres">
      <dgm:prSet presAssocID="{70E60703-8FE7-46E8-A447-3D98C00F09F8}" presName="childNode" presStyleLbl="node1" presStyleIdx="19" presStyleCnt="23">
        <dgm:presLayoutVars>
          <dgm:bulletEnabled val="1"/>
        </dgm:presLayoutVars>
      </dgm:prSet>
      <dgm:spPr/>
    </dgm:pt>
    <dgm:pt modelId="{107E0F94-0ADC-4AD3-AAA8-262F2CD1C036}" type="pres">
      <dgm:prSet presAssocID="{70E60703-8FE7-46E8-A447-3D98C00F09F8}" presName="aSpace2" presStyleCnt="0"/>
      <dgm:spPr/>
    </dgm:pt>
    <dgm:pt modelId="{A55C97CB-42C8-416F-A7D3-DFC9F62DC405}" type="pres">
      <dgm:prSet presAssocID="{07A964AB-1988-4C34-B336-B3FC95183F7B}" presName="childNode" presStyleLbl="node1" presStyleIdx="20" presStyleCnt="23">
        <dgm:presLayoutVars>
          <dgm:bulletEnabled val="1"/>
        </dgm:presLayoutVars>
      </dgm:prSet>
      <dgm:spPr/>
    </dgm:pt>
    <dgm:pt modelId="{325F5571-F122-4C6F-B0E6-90383580D46C}" type="pres">
      <dgm:prSet presAssocID="{07A964AB-1988-4C34-B336-B3FC95183F7B}" presName="aSpace2" presStyleCnt="0"/>
      <dgm:spPr/>
    </dgm:pt>
    <dgm:pt modelId="{5C25422A-4E75-46B6-9FEE-459ACE85E026}" type="pres">
      <dgm:prSet presAssocID="{DFF12AE5-5AF3-4F73-A68F-BE5EFCCEF99F}" presName="childNode" presStyleLbl="node1" presStyleIdx="21" presStyleCnt="23">
        <dgm:presLayoutVars>
          <dgm:bulletEnabled val="1"/>
        </dgm:presLayoutVars>
      </dgm:prSet>
      <dgm:spPr/>
    </dgm:pt>
    <dgm:pt modelId="{921D83A8-90DF-4B5A-9324-D7781DC673DC}" type="pres">
      <dgm:prSet presAssocID="{DFF12AE5-5AF3-4F73-A68F-BE5EFCCEF99F}" presName="aSpace2" presStyleCnt="0"/>
      <dgm:spPr/>
    </dgm:pt>
    <dgm:pt modelId="{6441AADD-E289-43BB-9BA5-1B47075EF19B}" type="pres">
      <dgm:prSet presAssocID="{C4CA4A6E-43F3-4AF9-883A-D850630C6CC7}" presName="childNode" presStyleLbl="node1" presStyleIdx="22" presStyleCnt="23">
        <dgm:presLayoutVars>
          <dgm:bulletEnabled val="1"/>
        </dgm:presLayoutVars>
      </dgm:prSet>
      <dgm:spPr/>
    </dgm:pt>
  </dgm:ptLst>
  <dgm:cxnLst>
    <dgm:cxn modelId="{24034407-5AE2-4381-8720-794F265C52F3}" srcId="{89643232-57B8-420E-8FF0-9C2F3CB3991F}" destId="{F2DC8637-6949-41B4-9FCC-82FA477A38C3}" srcOrd="2" destOrd="0" parTransId="{70626F88-1CA9-479B-B2F1-66FE3C35FD89}" sibTransId="{41AD6A96-B508-4777-BFCD-3FB5F4663E4F}"/>
    <dgm:cxn modelId="{D6153709-102A-4166-9141-A5991E3C8329}" srcId="{B6372A2B-1BFA-401A-9AEC-C9010B4BC063}" destId="{83C7D734-0751-4B84-B00A-A903F1E27399}" srcOrd="7" destOrd="0" parTransId="{4C60A7F2-5321-4822-A4BF-A361DBD4CF75}" sibTransId="{5C4308A1-46C2-48F6-B555-01D918D39031}"/>
    <dgm:cxn modelId="{5DFC140A-A8DA-4F23-B055-6D6B1AEB3683}" type="presOf" srcId="{5A5A9AD3-22E2-4D7E-8733-686FD7984313}" destId="{23E90D8F-F9CE-4441-989D-9058306EB6E7}" srcOrd="0" destOrd="0" presId="urn:microsoft.com/office/officeart/2005/8/layout/lProcess2"/>
    <dgm:cxn modelId="{8F3D710A-F284-4545-AA94-E0014326595B}" srcId="{F9CFA0E1-B5F8-4854-A16A-881F44865EC1}" destId="{89643232-57B8-420E-8FF0-9C2F3CB3991F}" srcOrd="2" destOrd="0" parTransId="{1ED0E59C-A0CC-45C7-973E-3B1B4DFF48FA}" sibTransId="{8486585B-6B2E-4E22-AB09-C21E6605339A}"/>
    <dgm:cxn modelId="{1EFB920C-B038-486E-A4A3-C811B9C426F3}" type="presOf" srcId="{B8BE5EB3-769D-4338-AA31-1C5768AEBABE}" destId="{571A0516-9AC9-4AB7-8F6A-A6FD96D5B4FB}" srcOrd="0" destOrd="0" presId="urn:microsoft.com/office/officeart/2005/8/layout/lProcess2"/>
    <dgm:cxn modelId="{CA225B10-243D-4CB7-B3E3-E5FE9BA4E576}" srcId="{B6372A2B-1BFA-401A-9AEC-C9010B4BC063}" destId="{0F18B67F-652A-47DE-AC5C-682E8AD4D439}" srcOrd="5" destOrd="0" parTransId="{C14B8D58-F7D6-4E2D-8C43-3DF86768B8F9}" sibTransId="{5879C9A4-46E5-48F0-BD76-423D0F83D11B}"/>
    <dgm:cxn modelId="{E4613912-58F4-4E71-BD7F-59F8F3E7BAC6}" type="presOf" srcId="{C4CA4A6E-43F3-4AF9-883A-D850630C6CC7}" destId="{6441AADD-E289-43BB-9BA5-1B47075EF19B}" srcOrd="0" destOrd="0" presId="urn:microsoft.com/office/officeart/2005/8/layout/lProcess2"/>
    <dgm:cxn modelId="{1CE08B17-19EB-4241-9E60-EC10593FB92E}" type="presOf" srcId="{DFF12AE5-5AF3-4F73-A68F-BE5EFCCEF99F}" destId="{5C25422A-4E75-46B6-9FEE-459ACE85E026}" srcOrd="0" destOrd="0" presId="urn:microsoft.com/office/officeart/2005/8/layout/lProcess2"/>
    <dgm:cxn modelId="{9628111D-4B81-4857-BC24-9663423A3F3F}" type="presOf" srcId="{93540CD0-4987-4FDF-AB45-6A8233C323D3}" destId="{3D651EFC-965E-4244-962F-CFF4E80627A1}" srcOrd="0" destOrd="0" presId="urn:microsoft.com/office/officeart/2005/8/layout/lProcess2"/>
    <dgm:cxn modelId="{572F8D21-3F9D-4F52-9FB3-D38B53AE6B5E}" srcId="{B6372A2B-1BFA-401A-9AEC-C9010B4BC063}" destId="{4168F9AF-9974-46CD-8132-BB1B626EC2EA}" srcOrd="0" destOrd="0" parTransId="{6A145F7F-E603-47E3-8D14-6EB0F5C596DC}" sibTransId="{363EFBDB-7933-4448-91A1-72AEFBC3FE32}"/>
    <dgm:cxn modelId="{B1E4E324-5876-4DA9-BE11-8E6C9783C515}" type="presOf" srcId="{AFF7B221-319F-40DD-B138-E463773076DF}" destId="{06FA3C38-D0E1-468F-A4A8-3AF764B790FF}" srcOrd="0" destOrd="0" presId="urn:microsoft.com/office/officeart/2005/8/layout/lProcess2"/>
    <dgm:cxn modelId="{A918DB25-A07F-4459-A9E9-8AF8A3A2EFF3}" type="presOf" srcId="{305EA80D-BFAA-4779-92DF-90393B6E9121}" destId="{D59D40E1-0985-4F51-8FE8-28B7ED389296}" srcOrd="0" destOrd="0" presId="urn:microsoft.com/office/officeart/2005/8/layout/lProcess2"/>
    <dgm:cxn modelId="{87410F26-B53F-467B-9A85-ABA26289F449}" type="presOf" srcId="{388AC338-ADF7-4773-90EF-25033CFDB8DF}" destId="{C4B8B6D4-D2E2-4EEF-80A3-BEC091798FA3}" srcOrd="0" destOrd="0" presId="urn:microsoft.com/office/officeart/2005/8/layout/lProcess2"/>
    <dgm:cxn modelId="{E99ABF2D-EA28-443E-A640-F1FD2E110946}" type="presOf" srcId="{28A0D39F-D52D-42FC-8AC3-0B880304C12C}" destId="{3963C424-BD05-47B3-8B47-F627B04CD9E6}" srcOrd="0" destOrd="0" presId="urn:microsoft.com/office/officeart/2005/8/layout/lProcess2"/>
    <dgm:cxn modelId="{74EF172F-4E06-4952-88D1-F37D93F36774}" srcId="{B6372A2B-1BFA-401A-9AEC-C9010B4BC063}" destId="{388AC338-ADF7-4773-90EF-25033CFDB8DF}" srcOrd="1" destOrd="0" parTransId="{B83E57CD-2507-41C9-970A-D68F32F7F1AD}" sibTransId="{DC6FC44A-6344-4F20-B200-5D9F070E00DD}"/>
    <dgm:cxn modelId="{07043733-82DD-4400-A944-54D41258BAA3}" type="presOf" srcId="{AFF7B221-319F-40DD-B138-E463773076DF}" destId="{783B3391-9645-42D7-B8E9-27111DC0D4DF}" srcOrd="1" destOrd="0" presId="urn:microsoft.com/office/officeart/2005/8/layout/lProcess2"/>
    <dgm:cxn modelId="{20770836-8526-4D30-9734-0FDA628CB8BD}" type="presOf" srcId="{BADE6DB6-D09A-489D-80F2-BF3E958514D4}" destId="{5987A413-C779-4E39-B772-A843FA81338F}" srcOrd="0" destOrd="0" presId="urn:microsoft.com/office/officeart/2005/8/layout/lProcess2"/>
    <dgm:cxn modelId="{5F5CD95F-86AC-4654-9055-90A0748DB61B}" type="presOf" srcId="{F9CFA0E1-B5F8-4854-A16A-881F44865EC1}" destId="{7E7511D4-F9E7-4DA0-ADC6-9C76B0C6AF1D}" srcOrd="0" destOrd="0" presId="urn:microsoft.com/office/officeart/2005/8/layout/lProcess2"/>
    <dgm:cxn modelId="{D646C460-2417-416B-8F94-6EFB85BC5368}" type="presOf" srcId="{57B4AEE6-E1C3-4E81-9D1E-0B3EF45FB39B}" destId="{4ED4DA7F-37B9-420D-BCB8-37B027C834EF}" srcOrd="0" destOrd="0" presId="urn:microsoft.com/office/officeart/2005/8/layout/lProcess2"/>
    <dgm:cxn modelId="{E4773642-6DD3-455C-A938-931EB23D8ACC}" srcId="{AFF7B221-319F-40DD-B138-E463773076DF}" destId="{872B5743-DE20-4974-AF8D-27FA9690836B}" srcOrd="0" destOrd="0" parTransId="{398220F2-F7A7-4F28-BC52-ACF3D0FFD918}" sibTransId="{7946EBA7-3A55-4842-91EB-AC17CC3E3DF5}"/>
    <dgm:cxn modelId="{A0B3D268-2FAA-48FE-88E7-CCC028EDB9E5}" type="presOf" srcId="{F2DC8637-6949-41B4-9FCC-82FA477A38C3}" destId="{3BF083A0-DCCE-4CBF-8E94-2D5980858733}" srcOrd="0" destOrd="0" presId="urn:microsoft.com/office/officeart/2005/8/layout/lProcess2"/>
    <dgm:cxn modelId="{CF93896A-9EC7-450B-ADF8-FFF002C61F70}" type="presOf" srcId="{B6372A2B-1BFA-401A-9AEC-C9010B4BC063}" destId="{ED22D33A-C07C-4EC9-8C5A-10C255ADFC80}" srcOrd="0" destOrd="0" presId="urn:microsoft.com/office/officeart/2005/8/layout/lProcess2"/>
    <dgm:cxn modelId="{4123FA6C-D436-4BE2-BC1C-1E6E2025B4D1}" type="presOf" srcId="{0F18B67F-652A-47DE-AC5C-682E8AD4D439}" destId="{A5B21FF8-2135-4D84-A71C-CDAF736FCFAB}" srcOrd="0" destOrd="0" presId="urn:microsoft.com/office/officeart/2005/8/layout/lProcess2"/>
    <dgm:cxn modelId="{BF9AFC6D-29F3-40CB-93EA-6EF03CAA28B1}" type="presOf" srcId="{83C7D734-0751-4B84-B00A-A903F1E27399}" destId="{7047B533-F2D2-40E9-879B-44924901FEDD}" srcOrd="0" destOrd="0" presId="urn:microsoft.com/office/officeart/2005/8/layout/lProcess2"/>
    <dgm:cxn modelId="{EF181D4F-4A86-4AEA-96B4-65CD2867913C}" type="presOf" srcId="{2059B89A-340E-4B92-B567-DBAEA2ADB46C}" destId="{D026FC47-64EC-4D3D-93C9-1196F326E019}" srcOrd="0" destOrd="0" presId="urn:microsoft.com/office/officeart/2005/8/layout/lProcess2"/>
    <dgm:cxn modelId="{B2E5F852-E1E5-4C75-9AC2-AEC926C449D4}" type="presOf" srcId="{872B5743-DE20-4974-AF8D-27FA9690836B}" destId="{D509728D-6BB3-4829-B9F9-9FFF61E97AE3}" srcOrd="0" destOrd="0" presId="urn:microsoft.com/office/officeart/2005/8/layout/lProcess2"/>
    <dgm:cxn modelId="{D7D07D74-84E2-4E7C-8EA6-DE3D7FD2179D}" srcId="{B6372A2B-1BFA-401A-9AEC-C9010B4BC063}" destId="{3F937F9D-5895-4FCB-B5C8-506C35992530}" srcOrd="3" destOrd="0" parTransId="{2C3EB481-7A62-488C-BC7E-92D3CD1418CB}" sibTransId="{D2128FF1-E51C-428E-84DD-65265F6C5ECE}"/>
    <dgm:cxn modelId="{D59E077E-40E8-4B36-9160-112C9C550837}" srcId="{8A8F2D78-958B-456B-94C2-00A6FB8F588F}" destId="{28A0D39F-D52D-42FC-8AC3-0B880304C12C}" srcOrd="2" destOrd="0" parTransId="{9A4D73ED-F04B-42A5-B621-39159106D2B9}" sibTransId="{12C6712A-4DB0-419B-AC46-535060B3C534}"/>
    <dgm:cxn modelId="{C4B7E385-6F7A-4A32-95C8-3C429E767648}" type="presOf" srcId="{7F4BC043-AD6F-43A9-8EF6-62E9987307A2}" destId="{E31CFFF1-459E-4F33-B4BC-C2EBC66A8FEA}" srcOrd="0" destOrd="0" presId="urn:microsoft.com/office/officeart/2005/8/layout/lProcess2"/>
    <dgm:cxn modelId="{8AB61488-14D8-4E95-9EAD-71BA5161A4CE}" srcId="{8A8F2D78-958B-456B-94C2-00A6FB8F588F}" destId="{F4711AFA-4176-4B0B-B8D7-20CD3974DE98}" srcOrd="3" destOrd="0" parTransId="{10681E7C-3AF0-482D-A219-72623FC8DF89}" sibTransId="{B0A9A64F-669B-48BD-A17E-A0AD70875E9D}"/>
    <dgm:cxn modelId="{2574708F-6958-42F0-A72B-EDBABB1E3A52}" srcId="{F9CFA0E1-B5F8-4854-A16A-881F44865EC1}" destId="{B6372A2B-1BFA-401A-9AEC-C9010B4BC063}" srcOrd="0" destOrd="0" parTransId="{9439BE4B-CF19-4B28-B9E9-66A1160F6834}" sibTransId="{45CF8965-4F40-45B1-B810-FA52D8F7B3D7}"/>
    <dgm:cxn modelId="{6B4DE090-5E98-4CF1-988B-EE7670A8DF94}" srcId="{93540CD0-4987-4FDF-AB45-6A8233C323D3}" destId="{DFF12AE5-5AF3-4F73-A68F-BE5EFCCEF99F}" srcOrd="2" destOrd="0" parTransId="{49F0A103-E7F4-4D8F-900E-FC10AA3071F3}" sibTransId="{145FF086-AB94-4F94-9FF2-C43AAC529329}"/>
    <dgm:cxn modelId="{A5BBEC91-FF35-4E62-8646-48CCFDF1C2E4}" srcId="{89643232-57B8-420E-8FF0-9C2F3CB3991F}" destId="{7F4BC043-AD6F-43A9-8EF6-62E9987307A2}" srcOrd="1" destOrd="0" parTransId="{C979C025-4D9A-401C-9228-8FF52DD7641F}" sibTransId="{D755B57B-5D9D-4B2C-90BA-76EF031DF7E2}"/>
    <dgm:cxn modelId="{A167239C-9458-4DE8-A4E7-A623F52D275F}" type="presOf" srcId="{4168F9AF-9974-46CD-8132-BB1B626EC2EA}" destId="{921EBD65-F687-43D7-B906-3CBE59A03C77}" srcOrd="0" destOrd="0" presId="urn:microsoft.com/office/officeart/2005/8/layout/lProcess2"/>
    <dgm:cxn modelId="{32AAB0A8-E395-4839-80C3-EA53FCAAA97F}" type="presOf" srcId="{C3F5A5FF-00C4-487F-8507-5EF77FB8722C}" destId="{8252AD0F-FD64-47C2-AF4F-98A839025C17}" srcOrd="0" destOrd="0" presId="urn:microsoft.com/office/officeart/2005/8/layout/lProcess2"/>
    <dgm:cxn modelId="{2CEFEEB3-E77E-4848-8D8B-3E4DA98E8754}" type="presOf" srcId="{8A8F2D78-958B-456B-94C2-00A6FB8F588F}" destId="{2894B579-C70F-4567-ABF5-0FBEC776335B}" srcOrd="0" destOrd="0" presId="urn:microsoft.com/office/officeart/2005/8/layout/lProcess2"/>
    <dgm:cxn modelId="{E981DBB6-B8F8-46C4-B538-4DF9D4D483E8}" srcId="{89643232-57B8-420E-8FF0-9C2F3CB3991F}" destId="{E9DFAC4E-E049-4A2D-8796-9063012ED250}" srcOrd="4" destOrd="0" parTransId="{12417410-34BD-49F5-B9EE-A156732BBF19}" sibTransId="{A8EF903A-438B-4500-8BA0-28EF2229D474}"/>
    <dgm:cxn modelId="{2EBD55B9-20E4-4BD0-BA12-4B9DFC086C14}" srcId="{B6372A2B-1BFA-401A-9AEC-C9010B4BC063}" destId="{97DE17D7-6436-464E-9F54-A6D2CA34609D}" srcOrd="4" destOrd="0" parTransId="{7BFC8ABD-0B87-414E-A0F8-8317E89EC3C9}" sibTransId="{3438982E-0D06-48D2-B0FC-185A67BCFC8F}"/>
    <dgm:cxn modelId="{25F3AFC0-0596-4EF8-8212-B7DA858FEA57}" type="presOf" srcId="{07A964AB-1988-4C34-B336-B3FC95183F7B}" destId="{A55C97CB-42C8-416F-A7D3-DFC9F62DC405}" srcOrd="0" destOrd="0" presId="urn:microsoft.com/office/officeart/2005/8/layout/lProcess2"/>
    <dgm:cxn modelId="{4451BBC2-5817-486A-8FF8-5F414DA42A65}" srcId="{89643232-57B8-420E-8FF0-9C2F3CB3991F}" destId="{BADE6DB6-D09A-489D-80F2-BF3E958514D4}" srcOrd="0" destOrd="0" parTransId="{A303D67A-30B3-48C8-889A-8BA4F89D5362}" sibTransId="{15C1AED5-16E7-4467-9509-EE6F77F6F336}"/>
    <dgm:cxn modelId="{B49284C4-B2CA-4D07-92D1-BBDF3B1BA64E}" type="presOf" srcId="{E9DFAC4E-E049-4A2D-8796-9063012ED250}" destId="{1C472AC2-B9CE-425C-B478-EDF8DF758F26}" srcOrd="0" destOrd="0" presId="urn:microsoft.com/office/officeart/2005/8/layout/lProcess2"/>
    <dgm:cxn modelId="{D7B956C8-DD57-4C7E-837B-067BFB70D09B}" type="presOf" srcId="{8A8F2D78-958B-456B-94C2-00A6FB8F588F}" destId="{DA3A2666-7F38-49C5-9615-1DA667A2C414}" srcOrd="1" destOrd="0" presId="urn:microsoft.com/office/officeart/2005/8/layout/lProcess2"/>
    <dgm:cxn modelId="{BCA560C9-B241-4A61-BBBC-584E2CDFA0A1}" srcId="{8A8F2D78-958B-456B-94C2-00A6FB8F588F}" destId="{B8BE5EB3-769D-4338-AA31-1C5768AEBABE}" srcOrd="1" destOrd="0" parTransId="{369AB1FF-57C2-4A19-A0CB-F61BA7699283}" sibTransId="{4186DF6A-4FF4-4669-9311-961244415AB2}"/>
    <dgm:cxn modelId="{C2769FC9-F7DC-4B4D-A361-BE8D55C9B7BD}" srcId="{93540CD0-4987-4FDF-AB45-6A8233C323D3}" destId="{C4CA4A6E-43F3-4AF9-883A-D850630C6CC7}" srcOrd="3" destOrd="0" parTransId="{2773AF0A-5AB8-43CD-8A84-0A84068529AC}" sibTransId="{2C1D5F6D-B80F-40B7-972A-117F6321DA23}"/>
    <dgm:cxn modelId="{159A7DCA-E376-45B6-8DEE-2E2057C213FA}" type="presOf" srcId="{B6372A2B-1BFA-401A-9AEC-C9010B4BC063}" destId="{10BC2675-3DC8-4B14-94DC-898C468ECC75}" srcOrd="1" destOrd="0" presId="urn:microsoft.com/office/officeart/2005/8/layout/lProcess2"/>
    <dgm:cxn modelId="{BBCB94CA-B261-4782-BAA0-674928BB7C62}" srcId="{8A8F2D78-958B-456B-94C2-00A6FB8F588F}" destId="{305EA80D-BFAA-4779-92DF-90393B6E9121}" srcOrd="0" destOrd="0" parTransId="{3952F1E0-4DFF-4796-A2EA-3FB6B391AB3F}" sibTransId="{97F8DCF9-858E-4D6C-8355-81DD0F3FBB08}"/>
    <dgm:cxn modelId="{05D9A9CA-F3D1-4ABC-AE74-9128A02DFDFD}" srcId="{93540CD0-4987-4FDF-AB45-6A8233C323D3}" destId="{70E60703-8FE7-46E8-A447-3D98C00F09F8}" srcOrd="0" destOrd="0" parTransId="{0F5B7B36-4980-4DBB-BCBB-CF092DA7DEB2}" sibTransId="{980C534A-4E79-49CA-82BB-DECA85255FA1}"/>
    <dgm:cxn modelId="{A6D881CB-F9EB-4F24-BA1E-4FA50EE8AC78}" type="presOf" srcId="{F4711AFA-4176-4B0B-B8D7-20CD3974DE98}" destId="{4A6C3E54-8786-4FD9-990E-DCBD7B79B549}" srcOrd="0" destOrd="0" presId="urn:microsoft.com/office/officeart/2005/8/layout/lProcess2"/>
    <dgm:cxn modelId="{CBFE6ED4-0ACB-47A4-BF21-3484208910D9}" srcId="{F9CFA0E1-B5F8-4854-A16A-881F44865EC1}" destId="{8A8F2D78-958B-456B-94C2-00A6FB8F588F}" srcOrd="3" destOrd="0" parTransId="{D4593209-20E4-4274-9061-7C03D7E7741A}" sibTransId="{0D989863-2FE3-40AD-8481-D0ABE18A8F2B}"/>
    <dgm:cxn modelId="{EFFC81D4-3ED4-47E2-91B8-0BEB1FEC6FC6}" srcId="{F9CFA0E1-B5F8-4854-A16A-881F44865EC1}" destId="{93540CD0-4987-4FDF-AB45-6A8233C323D3}" srcOrd="4" destOrd="0" parTransId="{67E7A615-3868-4448-B40E-2B51C6F43609}" sibTransId="{0E373988-ACCA-45CB-B8A9-F3FAF59A3FEA}"/>
    <dgm:cxn modelId="{E19C05D8-A9DC-49B1-A292-B83A7C2F4917}" type="presOf" srcId="{3F937F9D-5895-4FCB-B5C8-506C35992530}" destId="{0B3B5992-3116-4F0F-8BB7-7CD16530BB42}" srcOrd="0" destOrd="0" presId="urn:microsoft.com/office/officeart/2005/8/layout/lProcess2"/>
    <dgm:cxn modelId="{9B353ED9-3945-4BEC-A434-96D6F31487C7}" type="presOf" srcId="{93540CD0-4987-4FDF-AB45-6A8233C323D3}" destId="{F9A4FB98-6A04-4195-B4FC-0A625DC82A45}" srcOrd="1" destOrd="0" presId="urn:microsoft.com/office/officeart/2005/8/layout/lProcess2"/>
    <dgm:cxn modelId="{E5C3ADE0-0CA9-49E3-8B1F-6D77186D5018}" type="presOf" srcId="{97DE17D7-6436-464E-9F54-A6D2CA34609D}" destId="{C3D754FF-8B4D-48B0-B9DD-6CCAD3646D4F}" srcOrd="0" destOrd="0" presId="urn:microsoft.com/office/officeart/2005/8/layout/lProcess2"/>
    <dgm:cxn modelId="{1EEF87E2-BFE3-4CF5-9F30-6D6FCA10DC53}" type="presOf" srcId="{70E60703-8FE7-46E8-A447-3D98C00F09F8}" destId="{811C5ECB-FC85-40B5-AB47-A975C16A7C09}" srcOrd="0" destOrd="0" presId="urn:microsoft.com/office/officeart/2005/8/layout/lProcess2"/>
    <dgm:cxn modelId="{576702E3-00CA-4278-8452-05CA1C5C7B00}" srcId="{B6372A2B-1BFA-401A-9AEC-C9010B4BC063}" destId="{2059B89A-340E-4B92-B567-DBAEA2ADB46C}" srcOrd="2" destOrd="0" parTransId="{D5BC3C41-80DC-41D4-AD13-070CB3E2AEF9}" sibTransId="{2121BEF5-620C-4FD5-A32F-9673D386D377}"/>
    <dgm:cxn modelId="{F85846E3-59BA-4FC5-9E72-C9BAC0C5134C}" srcId="{8A8F2D78-958B-456B-94C2-00A6FB8F588F}" destId="{C3F5A5FF-00C4-487F-8507-5EF77FB8722C}" srcOrd="4" destOrd="0" parTransId="{515AF257-10D6-470E-9AD0-84937167363F}" sibTransId="{22203AB4-4819-4DBA-8320-97C4CD1285CE}"/>
    <dgm:cxn modelId="{ECA4F3E7-BF3A-4B45-8190-579A090DBFB8}" srcId="{B6372A2B-1BFA-401A-9AEC-C9010B4BC063}" destId="{57B4AEE6-E1C3-4E81-9D1E-0B3EF45FB39B}" srcOrd="6" destOrd="0" parTransId="{74C5008E-4D46-451A-ADF9-11D3C3202627}" sibTransId="{FC595493-0AD1-43EE-A427-E31521F7CB5E}"/>
    <dgm:cxn modelId="{3C7937EE-7E17-45E4-BB0A-CE77F1F531AE}" type="presOf" srcId="{89643232-57B8-420E-8FF0-9C2F3CB3991F}" destId="{82C9BB27-AC60-4A01-83B0-DADC643FDBC3}" srcOrd="0" destOrd="0" presId="urn:microsoft.com/office/officeart/2005/8/layout/lProcess2"/>
    <dgm:cxn modelId="{FD93F7F1-2CBA-43F4-AC42-DD4033B04E6B}" srcId="{89643232-57B8-420E-8FF0-9C2F3CB3991F}" destId="{5A5A9AD3-22E2-4D7E-8733-686FD7984313}" srcOrd="3" destOrd="0" parTransId="{02AC0390-D216-4F19-AD91-3F6D0D19E1B8}" sibTransId="{F2EDC602-9E9B-4259-874E-0FA91930EAB5}"/>
    <dgm:cxn modelId="{EA37A9F2-2542-4B36-93AE-A335EB375687}" srcId="{93540CD0-4987-4FDF-AB45-6A8233C323D3}" destId="{07A964AB-1988-4C34-B336-B3FC95183F7B}" srcOrd="1" destOrd="0" parTransId="{3412FB27-A3E0-4FA0-B650-726A2F7F5054}" sibTransId="{86B2EC50-7DB1-40E3-ADF8-29455A5C07FA}"/>
    <dgm:cxn modelId="{0D11D1F4-729A-4E37-9CFE-BA51504A2783}" type="presOf" srcId="{89643232-57B8-420E-8FF0-9C2F3CB3991F}" destId="{1AA2F084-8E55-4E73-AF75-1316F0281BB6}" srcOrd="1" destOrd="0" presId="urn:microsoft.com/office/officeart/2005/8/layout/lProcess2"/>
    <dgm:cxn modelId="{5D9CA1F7-1FFF-41FB-927E-DD925ACBD0A5}" srcId="{F9CFA0E1-B5F8-4854-A16A-881F44865EC1}" destId="{AFF7B221-319F-40DD-B138-E463773076DF}" srcOrd="1" destOrd="0" parTransId="{6FE946CC-0A99-426D-8C0E-3EB2FFA151EB}" sibTransId="{E61125EA-3F6E-43BC-AEEA-C2132EC6BC0F}"/>
    <dgm:cxn modelId="{78F1969E-488E-4474-BD9C-028D46CB5FA4}" type="presParOf" srcId="{7E7511D4-F9E7-4DA0-ADC6-9C76B0C6AF1D}" destId="{EB827DEA-78B2-4EC4-8D0C-B7E1475F8FCE}" srcOrd="0" destOrd="0" presId="urn:microsoft.com/office/officeart/2005/8/layout/lProcess2"/>
    <dgm:cxn modelId="{5CC71A31-3231-47B9-ADAB-4F95EC2EDE19}" type="presParOf" srcId="{EB827DEA-78B2-4EC4-8D0C-B7E1475F8FCE}" destId="{ED22D33A-C07C-4EC9-8C5A-10C255ADFC80}" srcOrd="0" destOrd="0" presId="urn:microsoft.com/office/officeart/2005/8/layout/lProcess2"/>
    <dgm:cxn modelId="{E2A55C41-463F-4A94-875A-0A838626AE30}" type="presParOf" srcId="{EB827DEA-78B2-4EC4-8D0C-B7E1475F8FCE}" destId="{10BC2675-3DC8-4B14-94DC-898C468ECC75}" srcOrd="1" destOrd="0" presId="urn:microsoft.com/office/officeart/2005/8/layout/lProcess2"/>
    <dgm:cxn modelId="{A0DD49F2-72E7-4027-8751-D7A438692DB5}" type="presParOf" srcId="{EB827DEA-78B2-4EC4-8D0C-B7E1475F8FCE}" destId="{B423A7B9-5DF7-482F-935F-4F132D3DC2ED}" srcOrd="2" destOrd="0" presId="urn:microsoft.com/office/officeart/2005/8/layout/lProcess2"/>
    <dgm:cxn modelId="{A850DFD4-5459-4620-9DBF-5BB0F3DAB8B8}" type="presParOf" srcId="{B423A7B9-5DF7-482F-935F-4F132D3DC2ED}" destId="{55D429E9-9072-4FF6-8BB3-553DE8ED290B}" srcOrd="0" destOrd="0" presId="urn:microsoft.com/office/officeart/2005/8/layout/lProcess2"/>
    <dgm:cxn modelId="{8B7392A1-C60D-4FA7-8C3F-A49BC69A54CB}" type="presParOf" srcId="{55D429E9-9072-4FF6-8BB3-553DE8ED290B}" destId="{921EBD65-F687-43D7-B906-3CBE59A03C77}" srcOrd="0" destOrd="0" presId="urn:microsoft.com/office/officeart/2005/8/layout/lProcess2"/>
    <dgm:cxn modelId="{0CAB2CE2-27A9-4F1C-8EB5-46A0C885377B}" type="presParOf" srcId="{55D429E9-9072-4FF6-8BB3-553DE8ED290B}" destId="{74DA8897-36FC-4467-98CA-18A8DE92B4E4}" srcOrd="1" destOrd="0" presId="urn:microsoft.com/office/officeart/2005/8/layout/lProcess2"/>
    <dgm:cxn modelId="{A82A9D0F-1D6A-400D-ADA3-F61773BF6124}" type="presParOf" srcId="{55D429E9-9072-4FF6-8BB3-553DE8ED290B}" destId="{C4B8B6D4-D2E2-4EEF-80A3-BEC091798FA3}" srcOrd="2" destOrd="0" presId="urn:microsoft.com/office/officeart/2005/8/layout/lProcess2"/>
    <dgm:cxn modelId="{08FCDDAD-8E74-40B6-8FA0-E181A2555267}" type="presParOf" srcId="{55D429E9-9072-4FF6-8BB3-553DE8ED290B}" destId="{D0AA073F-EE24-4704-98FF-841BC80D3526}" srcOrd="3" destOrd="0" presId="urn:microsoft.com/office/officeart/2005/8/layout/lProcess2"/>
    <dgm:cxn modelId="{92EC4C85-6E67-41D1-BD17-39543E36E25E}" type="presParOf" srcId="{55D429E9-9072-4FF6-8BB3-553DE8ED290B}" destId="{D026FC47-64EC-4D3D-93C9-1196F326E019}" srcOrd="4" destOrd="0" presId="urn:microsoft.com/office/officeart/2005/8/layout/lProcess2"/>
    <dgm:cxn modelId="{16B2CF24-81E6-49E4-AD26-9796431BE5B6}" type="presParOf" srcId="{55D429E9-9072-4FF6-8BB3-553DE8ED290B}" destId="{1E4703DA-5BB8-44BD-A01B-DC8150DD0770}" srcOrd="5" destOrd="0" presId="urn:microsoft.com/office/officeart/2005/8/layout/lProcess2"/>
    <dgm:cxn modelId="{42D8C2B0-590A-485B-AFE4-2789B46E1FEC}" type="presParOf" srcId="{55D429E9-9072-4FF6-8BB3-553DE8ED290B}" destId="{0B3B5992-3116-4F0F-8BB7-7CD16530BB42}" srcOrd="6" destOrd="0" presId="urn:microsoft.com/office/officeart/2005/8/layout/lProcess2"/>
    <dgm:cxn modelId="{B9795C95-EBD2-4797-9762-0DA26FEC81D3}" type="presParOf" srcId="{55D429E9-9072-4FF6-8BB3-553DE8ED290B}" destId="{242FF487-E45A-4A85-B748-AC01D896A7F2}" srcOrd="7" destOrd="0" presId="urn:microsoft.com/office/officeart/2005/8/layout/lProcess2"/>
    <dgm:cxn modelId="{C23132B9-9806-472B-9D13-57B31260E2B6}" type="presParOf" srcId="{55D429E9-9072-4FF6-8BB3-553DE8ED290B}" destId="{C3D754FF-8B4D-48B0-B9DD-6CCAD3646D4F}" srcOrd="8" destOrd="0" presId="urn:microsoft.com/office/officeart/2005/8/layout/lProcess2"/>
    <dgm:cxn modelId="{A8D931A9-76DE-43D1-A2D3-EBC7B63BC247}" type="presParOf" srcId="{55D429E9-9072-4FF6-8BB3-553DE8ED290B}" destId="{C48C9BF5-B5D0-42D0-B087-4DD909B1E619}" srcOrd="9" destOrd="0" presId="urn:microsoft.com/office/officeart/2005/8/layout/lProcess2"/>
    <dgm:cxn modelId="{8589D436-1127-4EDD-969E-3FC059D177DE}" type="presParOf" srcId="{55D429E9-9072-4FF6-8BB3-553DE8ED290B}" destId="{A5B21FF8-2135-4D84-A71C-CDAF736FCFAB}" srcOrd="10" destOrd="0" presId="urn:microsoft.com/office/officeart/2005/8/layout/lProcess2"/>
    <dgm:cxn modelId="{D07AE1DD-3300-41BA-87D8-FE2CE9B48CF4}" type="presParOf" srcId="{55D429E9-9072-4FF6-8BB3-553DE8ED290B}" destId="{F7EB55C8-8B82-44B9-82BE-DA43C51151CE}" srcOrd="11" destOrd="0" presId="urn:microsoft.com/office/officeart/2005/8/layout/lProcess2"/>
    <dgm:cxn modelId="{015271A8-CBDC-46CD-BF4B-4D5C630A2F52}" type="presParOf" srcId="{55D429E9-9072-4FF6-8BB3-553DE8ED290B}" destId="{4ED4DA7F-37B9-420D-BCB8-37B027C834EF}" srcOrd="12" destOrd="0" presId="urn:microsoft.com/office/officeart/2005/8/layout/lProcess2"/>
    <dgm:cxn modelId="{1411F5C3-3944-4807-A4EB-C84FD232FF76}" type="presParOf" srcId="{55D429E9-9072-4FF6-8BB3-553DE8ED290B}" destId="{210330AB-607B-4E55-912C-EC529F2EE36B}" srcOrd="13" destOrd="0" presId="urn:microsoft.com/office/officeart/2005/8/layout/lProcess2"/>
    <dgm:cxn modelId="{AA43828B-1AA0-4659-9860-7D4D355C895F}" type="presParOf" srcId="{55D429E9-9072-4FF6-8BB3-553DE8ED290B}" destId="{7047B533-F2D2-40E9-879B-44924901FEDD}" srcOrd="14" destOrd="0" presId="urn:microsoft.com/office/officeart/2005/8/layout/lProcess2"/>
    <dgm:cxn modelId="{A47B0833-580F-4441-899C-77B4D98645F1}" type="presParOf" srcId="{7E7511D4-F9E7-4DA0-ADC6-9C76B0C6AF1D}" destId="{971BF53D-AB78-4560-8EF5-64B9D6AAB7A4}" srcOrd="1" destOrd="0" presId="urn:microsoft.com/office/officeart/2005/8/layout/lProcess2"/>
    <dgm:cxn modelId="{4A92F2ED-19DE-4740-87ED-98CC7A4CE0DF}" type="presParOf" srcId="{7E7511D4-F9E7-4DA0-ADC6-9C76B0C6AF1D}" destId="{462BBBC8-C2BE-48CA-95A1-0B038F6F3B00}" srcOrd="2" destOrd="0" presId="urn:microsoft.com/office/officeart/2005/8/layout/lProcess2"/>
    <dgm:cxn modelId="{64DB96D0-9B66-445B-8B54-236C5D0A4EE3}" type="presParOf" srcId="{462BBBC8-C2BE-48CA-95A1-0B038F6F3B00}" destId="{06FA3C38-D0E1-468F-A4A8-3AF764B790FF}" srcOrd="0" destOrd="0" presId="urn:microsoft.com/office/officeart/2005/8/layout/lProcess2"/>
    <dgm:cxn modelId="{8F3CC10F-1657-44E7-ABCE-F5B809706F83}" type="presParOf" srcId="{462BBBC8-C2BE-48CA-95A1-0B038F6F3B00}" destId="{783B3391-9645-42D7-B8E9-27111DC0D4DF}" srcOrd="1" destOrd="0" presId="urn:microsoft.com/office/officeart/2005/8/layout/lProcess2"/>
    <dgm:cxn modelId="{B19161A4-4602-47CF-84A3-DE21EC840B6A}" type="presParOf" srcId="{462BBBC8-C2BE-48CA-95A1-0B038F6F3B00}" destId="{792B9053-B02B-44DC-A6EB-7C8ACF9A8221}" srcOrd="2" destOrd="0" presId="urn:microsoft.com/office/officeart/2005/8/layout/lProcess2"/>
    <dgm:cxn modelId="{02CE22C7-D9F7-4AF1-8F42-EB696502CE50}" type="presParOf" srcId="{792B9053-B02B-44DC-A6EB-7C8ACF9A8221}" destId="{1D3054DE-80A3-43BC-BA9D-253178561FE7}" srcOrd="0" destOrd="0" presId="urn:microsoft.com/office/officeart/2005/8/layout/lProcess2"/>
    <dgm:cxn modelId="{1C98EC54-0E76-40C3-BD7A-174E86137140}" type="presParOf" srcId="{1D3054DE-80A3-43BC-BA9D-253178561FE7}" destId="{D509728D-6BB3-4829-B9F9-9FFF61E97AE3}" srcOrd="0" destOrd="0" presId="urn:microsoft.com/office/officeart/2005/8/layout/lProcess2"/>
    <dgm:cxn modelId="{88ED4527-1549-4CA7-A71A-66ED14713C32}" type="presParOf" srcId="{7E7511D4-F9E7-4DA0-ADC6-9C76B0C6AF1D}" destId="{55D61A81-E436-47B8-AED1-3C36B88ACD3B}" srcOrd="3" destOrd="0" presId="urn:microsoft.com/office/officeart/2005/8/layout/lProcess2"/>
    <dgm:cxn modelId="{1EF4C402-ACEF-4BA7-83BB-9856D5F5ECB4}" type="presParOf" srcId="{7E7511D4-F9E7-4DA0-ADC6-9C76B0C6AF1D}" destId="{F5203358-0D7D-4DEA-9011-4DA158DCE711}" srcOrd="4" destOrd="0" presId="urn:microsoft.com/office/officeart/2005/8/layout/lProcess2"/>
    <dgm:cxn modelId="{A73EC7A3-E759-4069-8CA6-2FE4C00A61C1}" type="presParOf" srcId="{F5203358-0D7D-4DEA-9011-4DA158DCE711}" destId="{82C9BB27-AC60-4A01-83B0-DADC643FDBC3}" srcOrd="0" destOrd="0" presId="urn:microsoft.com/office/officeart/2005/8/layout/lProcess2"/>
    <dgm:cxn modelId="{EEB1C7CC-9A52-4714-AAF0-CCD3EA944E10}" type="presParOf" srcId="{F5203358-0D7D-4DEA-9011-4DA158DCE711}" destId="{1AA2F084-8E55-4E73-AF75-1316F0281BB6}" srcOrd="1" destOrd="0" presId="urn:microsoft.com/office/officeart/2005/8/layout/lProcess2"/>
    <dgm:cxn modelId="{A9AC4318-5C33-4E26-8A5A-87AB3FBC38AD}" type="presParOf" srcId="{F5203358-0D7D-4DEA-9011-4DA158DCE711}" destId="{B5D0779B-17E1-4101-9FB8-064C82352E18}" srcOrd="2" destOrd="0" presId="urn:microsoft.com/office/officeart/2005/8/layout/lProcess2"/>
    <dgm:cxn modelId="{7B860B4E-C80F-4514-BF47-A8A8ADAC74EA}" type="presParOf" srcId="{B5D0779B-17E1-4101-9FB8-064C82352E18}" destId="{378097D3-3798-44EF-A91E-22BE66449642}" srcOrd="0" destOrd="0" presId="urn:microsoft.com/office/officeart/2005/8/layout/lProcess2"/>
    <dgm:cxn modelId="{7D645F9E-739C-41DA-A705-9C0027384966}" type="presParOf" srcId="{378097D3-3798-44EF-A91E-22BE66449642}" destId="{5987A413-C779-4E39-B772-A843FA81338F}" srcOrd="0" destOrd="0" presId="urn:microsoft.com/office/officeart/2005/8/layout/lProcess2"/>
    <dgm:cxn modelId="{72A676F5-4A09-4855-9CA7-36E9E4E86FC0}" type="presParOf" srcId="{378097D3-3798-44EF-A91E-22BE66449642}" destId="{D4CE847A-3C91-4777-9E9B-40916C540D2D}" srcOrd="1" destOrd="0" presId="urn:microsoft.com/office/officeart/2005/8/layout/lProcess2"/>
    <dgm:cxn modelId="{56FC9F22-013C-4E77-AC77-3E622B04F366}" type="presParOf" srcId="{378097D3-3798-44EF-A91E-22BE66449642}" destId="{E31CFFF1-459E-4F33-B4BC-C2EBC66A8FEA}" srcOrd="2" destOrd="0" presId="urn:microsoft.com/office/officeart/2005/8/layout/lProcess2"/>
    <dgm:cxn modelId="{C620E869-EE40-4D26-AFC0-F6A3005A04D7}" type="presParOf" srcId="{378097D3-3798-44EF-A91E-22BE66449642}" destId="{92F1E468-8D1F-4A0B-985D-7F2C363E248C}" srcOrd="3" destOrd="0" presId="urn:microsoft.com/office/officeart/2005/8/layout/lProcess2"/>
    <dgm:cxn modelId="{EC988F62-9F10-4FED-9B03-A6D747ED4522}" type="presParOf" srcId="{378097D3-3798-44EF-A91E-22BE66449642}" destId="{3BF083A0-DCCE-4CBF-8E94-2D5980858733}" srcOrd="4" destOrd="0" presId="urn:microsoft.com/office/officeart/2005/8/layout/lProcess2"/>
    <dgm:cxn modelId="{1C4D2CC9-0EC7-4DF9-838A-FC507E264666}" type="presParOf" srcId="{378097D3-3798-44EF-A91E-22BE66449642}" destId="{0419B829-15E7-4597-A03B-B8A353D93CF2}" srcOrd="5" destOrd="0" presId="urn:microsoft.com/office/officeart/2005/8/layout/lProcess2"/>
    <dgm:cxn modelId="{AE942622-4CB8-416D-AB97-40488BC87EE7}" type="presParOf" srcId="{378097D3-3798-44EF-A91E-22BE66449642}" destId="{23E90D8F-F9CE-4441-989D-9058306EB6E7}" srcOrd="6" destOrd="0" presId="urn:microsoft.com/office/officeart/2005/8/layout/lProcess2"/>
    <dgm:cxn modelId="{ED6820DC-9671-443B-B8C1-65969829109A}" type="presParOf" srcId="{378097D3-3798-44EF-A91E-22BE66449642}" destId="{0835934B-783E-4EE2-924D-205CA3229F1F}" srcOrd="7" destOrd="0" presId="urn:microsoft.com/office/officeart/2005/8/layout/lProcess2"/>
    <dgm:cxn modelId="{19B97247-A77E-4CAE-9A5A-1FAC27BDD858}" type="presParOf" srcId="{378097D3-3798-44EF-A91E-22BE66449642}" destId="{1C472AC2-B9CE-425C-B478-EDF8DF758F26}" srcOrd="8" destOrd="0" presId="urn:microsoft.com/office/officeart/2005/8/layout/lProcess2"/>
    <dgm:cxn modelId="{95DF03A0-8A4A-4572-A54C-E7B2FEEFBACB}" type="presParOf" srcId="{7E7511D4-F9E7-4DA0-ADC6-9C76B0C6AF1D}" destId="{6B939D26-AC56-4F8E-A478-02C739AA69C7}" srcOrd="5" destOrd="0" presId="urn:microsoft.com/office/officeart/2005/8/layout/lProcess2"/>
    <dgm:cxn modelId="{CB7B8EE4-B316-4147-87F5-B65F5BA35538}" type="presParOf" srcId="{7E7511D4-F9E7-4DA0-ADC6-9C76B0C6AF1D}" destId="{EC5212D8-1B64-443D-A61B-06E9AFCC1904}" srcOrd="6" destOrd="0" presId="urn:microsoft.com/office/officeart/2005/8/layout/lProcess2"/>
    <dgm:cxn modelId="{7418D953-78F2-4ED9-BBC4-E72A29A2C5AF}" type="presParOf" srcId="{EC5212D8-1B64-443D-A61B-06E9AFCC1904}" destId="{2894B579-C70F-4567-ABF5-0FBEC776335B}" srcOrd="0" destOrd="0" presId="urn:microsoft.com/office/officeart/2005/8/layout/lProcess2"/>
    <dgm:cxn modelId="{58865FF5-D96F-4DC0-AF61-BBFD97DEDC1B}" type="presParOf" srcId="{EC5212D8-1B64-443D-A61B-06E9AFCC1904}" destId="{DA3A2666-7F38-49C5-9615-1DA667A2C414}" srcOrd="1" destOrd="0" presId="urn:microsoft.com/office/officeart/2005/8/layout/lProcess2"/>
    <dgm:cxn modelId="{596BC72B-4ED3-4A80-8E4F-B0269B171929}" type="presParOf" srcId="{EC5212D8-1B64-443D-A61B-06E9AFCC1904}" destId="{07B395CD-E786-472C-877F-0E8278B8113A}" srcOrd="2" destOrd="0" presId="urn:microsoft.com/office/officeart/2005/8/layout/lProcess2"/>
    <dgm:cxn modelId="{4EAFC86D-9A64-410A-A64C-44FD6074518E}" type="presParOf" srcId="{07B395CD-E786-472C-877F-0E8278B8113A}" destId="{5025D9FE-41BE-4FF4-B78E-37B77C1FCCC5}" srcOrd="0" destOrd="0" presId="urn:microsoft.com/office/officeart/2005/8/layout/lProcess2"/>
    <dgm:cxn modelId="{9DE7EC88-B182-4C01-ABB7-35EF6583C22A}" type="presParOf" srcId="{5025D9FE-41BE-4FF4-B78E-37B77C1FCCC5}" destId="{D59D40E1-0985-4F51-8FE8-28B7ED389296}" srcOrd="0" destOrd="0" presId="urn:microsoft.com/office/officeart/2005/8/layout/lProcess2"/>
    <dgm:cxn modelId="{EDA103C0-2A8B-4ABE-B538-611AD60F69F9}" type="presParOf" srcId="{5025D9FE-41BE-4FF4-B78E-37B77C1FCCC5}" destId="{F7CCF109-42BA-4580-B61B-B31E82E6563C}" srcOrd="1" destOrd="0" presId="urn:microsoft.com/office/officeart/2005/8/layout/lProcess2"/>
    <dgm:cxn modelId="{1ED0F908-B93C-48E4-BFF8-EC363B8DB330}" type="presParOf" srcId="{5025D9FE-41BE-4FF4-B78E-37B77C1FCCC5}" destId="{571A0516-9AC9-4AB7-8F6A-A6FD96D5B4FB}" srcOrd="2" destOrd="0" presId="urn:microsoft.com/office/officeart/2005/8/layout/lProcess2"/>
    <dgm:cxn modelId="{2F93E8B6-CB88-4029-952D-FA8E3FD1E93E}" type="presParOf" srcId="{5025D9FE-41BE-4FF4-B78E-37B77C1FCCC5}" destId="{ED60729B-30BC-430F-884C-FAE48B690215}" srcOrd="3" destOrd="0" presId="urn:microsoft.com/office/officeart/2005/8/layout/lProcess2"/>
    <dgm:cxn modelId="{5D23F84F-A800-460B-BCC5-7E54BA2CD4B1}" type="presParOf" srcId="{5025D9FE-41BE-4FF4-B78E-37B77C1FCCC5}" destId="{3963C424-BD05-47B3-8B47-F627B04CD9E6}" srcOrd="4" destOrd="0" presId="urn:microsoft.com/office/officeart/2005/8/layout/lProcess2"/>
    <dgm:cxn modelId="{8FB3D152-23B6-48D1-B3CF-8C24B4AD5797}" type="presParOf" srcId="{5025D9FE-41BE-4FF4-B78E-37B77C1FCCC5}" destId="{06AD39C4-5AAE-4202-BF9B-116E00C63C5D}" srcOrd="5" destOrd="0" presId="urn:microsoft.com/office/officeart/2005/8/layout/lProcess2"/>
    <dgm:cxn modelId="{1F491371-F863-4A77-B044-1DA5406C0BA8}" type="presParOf" srcId="{5025D9FE-41BE-4FF4-B78E-37B77C1FCCC5}" destId="{4A6C3E54-8786-4FD9-990E-DCBD7B79B549}" srcOrd="6" destOrd="0" presId="urn:microsoft.com/office/officeart/2005/8/layout/lProcess2"/>
    <dgm:cxn modelId="{28EAC036-FC86-44C6-801C-8522F051D1A7}" type="presParOf" srcId="{5025D9FE-41BE-4FF4-B78E-37B77C1FCCC5}" destId="{C9ACC00F-0AF8-4AE5-95EC-DD3F58EB8D0F}" srcOrd="7" destOrd="0" presId="urn:microsoft.com/office/officeart/2005/8/layout/lProcess2"/>
    <dgm:cxn modelId="{4F6D292A-67FB-4BD9-B2E9-97BA02555831}" type="presParOf" srcId="{5025D9FE-41BE-4FF4-B78E-37B77C1FCCC5}" destId="{8252AD0F-FD64-47C2-AF4F-98A839025C17}" srcOrd="8" destOrd="0" presId="urn:microsoft.com/office/officeart/2005/8/layout/lProcess2"/>
    <dgm:cxn modelId="{826F977B-6028-4CB1-974C-4786E6657308}" type="presParOf" srcId="{7E7511D4-F9E7-4DA0-ADC6-9C76B0C6AF1D}" destId="{BB86F84A-A6B6-4050-B93A-657334EC4ED9}" srcOrd="7" destOrd="0" presId="urn:microsoft.com/office/officeart/2005/8/layout/lProcess2"/>
    <dgm:cxn modelId="{DE42B14D-ABAA-4F62-89E0-52BC886C2998}" type="presParOf" srcId="{7E7511D4-F9E7-4DA0-ADC6-9C76B0C6AF1D}" destId="{81C4F848-7108-405A-9EDD-79CF78C683B6}" srcOrd="8" destOrd="0" presId="urn:microsoft.com/office/officeart/2005/8/layout/lProcess2"/>
    <dgm:cxn modelId="{B5B5A9B5-4F93-48C7-B7A7-45966C30097D}" type="presParOf" srcId="{81C4F848-7108-405A-9EDD-79CF78C683B6}" destId="{3D651EFC-965E-4244-962F-CFF4E80627A1}" srcOrd="0" destOrd="0" presId="urn:microsoft.com/office/officeart/2005/8/layout/lProcess2"/>
    <dgm:cxn modelId="{204580B7-672A-457D-891E-4312488EE201}" type="presParOf" srcId="{81C4F848-7108-405A-9EDD-79CF78C683B6}" destId="{F9A4FB98-6A04-4195-B4FC-0A625DC82A45}" srcOrd="1" destOrd="0" presId="urn:microsoft.com/office/officeart/2005/8/layout/lProcess2"/>
    <dgm:cxn modelId="{C652EEE3-68DC-4087-B967-8D4B20FF02FA}" type="presParOf" srcId="{81C4F848-7108-405A-9EDD-79CF78C683B6}" destId="{55E04D2D-D841-4F60-8AD4-BE089909F68A}" srcOrd="2" destOrd="0" presId="urn:microsoft.com/office/officeart/2005/8/layout/lProcess2"/>
    <dgm:cxn modelId="{148FE32B-2C7E-4A55-A971-FFBDE9871D57}" type="presParOf" srcId="{55E04D2D-D841-4F60-8AD4-BE089909F68A}" destId="{92C881F1-C49F-4BBC-9ED0-C34C1E2AA3DA}" srcOrd="0" destOrd="0" presId="urn:microsoft.com/office/officeart/2005/8/layout/lProcess2"/>
    <dgm:cxn modelId="{87698375-7AA8-4BD1-8996-4033E85345F4}" type="presParOf" srcId="{92C881F1-C49F-4BBC-9ED0-C34C1E2AA3DA}" destId="{811C5ECB-FC85-40B5-AB47-A975C16A7C09}" srcOrd="0" destOrd="0" presId="urn:microsoft.com/office/officeart/2005/8/layout/lProcess2"/>
    <dgm:cxn modelId="{7A735FE2-BE08-4470-B955-70276281F55C}" type="presParOf" srcId="{92C881F1-C49F-4BBC-9ED0-C34C1E2AA3DA}" destId="{107E0F94-0ADC-4AD3-AAA8-262F2CD1C036}" srcOrd="1" destOrd="0" presId="urn:microsoft.com/office/officeart/2005/8/layout/lProcess2"/>
    <dgm:cxn modelId="{B82574EE-5976-488D-86A1-9734616E2AC4}" type="presParOf" srcId="{92C881F1-C49F-4BBC-9ED0-C34C1E2AA3DA}" destId="{A55C97CB-42C8-416F-A7D3-DFC9F62DC405}" srcOrd="2" destOrd="0" presId="urn:microsoft.com/office/officeart/2005/8/layout/lProcess2"/>
    <dgm:cxn modelId="{B033F874-19D2-4AB3-A384-1D1008A9FE0C}" type="presParOf" srcId="{92C881F1-C49F-4BBC-9ED0-C34C1E2AA3DA}" destId="{325F5571-F122-4C6F-B0E6-90383580D46C}" srcOrd="3" destOrd="0" presId="urn:microsoft.com/office/officeart/2005/8/layout/lProcess2"/>
    <dgm:cxn modelId="{66F4E8F2-196C-4409-ABF2-761C4C53713F}" type="presParOf" srcId="{92C881F1-C49F-4BBC-9ED0-C34C1E2AA3DA}" destId="{5C25422A-4E75-46B6-9FEE-459ACE85E026}" srcOrd="4" destOrd="0" presId="urn:microsoft.com/office/officeart/2005/8/layout/lProcess2"/>
    <dgm:cxn modelId="{31DC3711-4AB4-4947-B558-85F4C8971C43}" type="presParOf" srcId="{92C881F1-C49F-4BBC-9ED0-C34C1E2AA3DA}" destId="{921D83A8-90DF-4B5A-9324-D7781DC673DC}" srcOrd="5" destOrd="0" presId="urn:microsoft.com/office/officeart/2005/8/layout/lProcess2"/>
    <dgm:cxn modelId="{CA5CA474-24B3-4F27-8046-CDCC80BF41A9}" type="presParOf" srcId="{92C881F1-C49F-4BBC-9ED0-C34C1E2AA3DA}" destId="{6441AADD-E289-43BB-9BA5-1B47075EF19B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9CFA0E1-B5F8-4854-A16A-881F44865EC1}" type="doc">
      <dgm:prSet loTypeId="urn:microsoft.com/office/officeart/2005/8/layout/lProcess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i-FI"/>
        </a:p>
      </dgm:t>
    </dgm:pt>
    <dgm:pt modelId="{7774EFB1-9E40-4AAD-8AA5-7B60F764894C}">
      <dgm:prSet custT="1"/>
      <dgm:spPr/>
      <dgm:t>
        <a:bodyPr/>
        <a:lstStyle/>
        <a:p>
          <a:r>
            <a:rPr lang="fi-FI" sz="800"/>
            <a:t>Yhtenäiset järjestelmät​</a:t>
          </a:r>
        </a:p>
      </dgm:t>
    </dgm:pt>
    <dgm:pt modelId="{4444E9D7-8C73-4278-9C5A-23E905C2BA31}" type="parTrans" cxnId="{D462E120-64F1-45B1-829E-78DF8A46AFC7}">
      <dgm:prSet/>
      <dgm:spPr/>
      <dgm:t>
        <a:bodyPr/>
        <a:lstStyle/>
        <a:p>
          <a:endParaRPr lang="fi-FI"/>
        </a:p>
      </dgm:t>
    </dgm:pt>
    <dgm:pt modelId="{7D9055C1-0C02-4D1C-A40B-4E61C04D7FA8}" type="sibTrans" cxnId="{D462E120-64F1-45B1-829E-78DF8A46AFC7}">
      <dgm:prSet/>
      <dgm:spPr/>
      <dgm:t>
        <a:bodyPr/>
        <a:lstStyle/>
        <a:p>
          <a:endParaRPr lang="fi-FI"/>
        </a:p>
      </dgm:t>
    </dgm:pt>
    <dgm:pt modelId="{93C709B6-2B0A-42FE-95A2-5FAD437F68BE}">
      <dgm:prSet custT="1"/>
      <dgm:spPr/>
      <dgm:t>
        <a:bodyPr/>
        <a:lstStyle/>
        <a:p>
          <a:r>
            <a:rPr lang="fi-FI" sz="800"/>
            <a:t>Nykyjärjestelmien käytön tehostamisen suunnittelu ja kouluttaminen​</a:t>
          </a:r>
        </a:p>
      </dgm:t>
    </dgm:pt>
    <dgm:pt modelId="{E724D225-AE88-4EB9-9AAA-4AE6B4F4E09A}" type="parTrans" cxnId="{E5F34EB0-773A-48D9-99C2-943114F7F986}">
      <dgm:prSet/>
      <dgm:spPr/>
      <dgm:t>
        <a:bodyPr/>
        <a:lstStyle/>
        <a:p>
          <a:endParaRPr lang="fi-FI"/>
        </a:p>
      </dgm:t>
    </dgm:pt>
    <dgm:pt modelId="{0362855B-87E5-4F40-B94C-0534523460B4}" type="sibTrans" cxnId="{E5F34EB0-773A-48D9-99C2-943114F7F986}">
      <dgm:prSet/>
      <dgm:spPr/>
      <dgm:t>
        <a:bodyPr/>
        <a:lstStyle/>
        <a:p>
          <a:endParaRPr lang="fi-FI"/>
        </a:p>
      </dgm:t>
    </dgm:pt>
    <dgm:pt modelId="{9F2191BB-5917-4771-A24D-C48200D3E0DF}">
      <dgm:prSet custT="1"/>
      <dgm:spPr/>
      <dgm:t>
        <a:bodyPr/>
        <a:lstStyle/>
        <a:p>
          <a:r>
            <a:rPr lang="fi-FI" sz="800"/>
            <a:t>Kertakirjautuminen</a:t>
          </a:r>
        </a:p>
      </dgm:t>
    </dgm:pt>
    <dgm:pt modelId="{030B1BF8-2D39-4FD9-A544-3FC89CB5AE4D}" type="parTrans" cxnId="{E48231D2-5504-49D7-B8BB-EC45D2F821EF}">
      <dgm:prSet/>
      <dgm:spPr/>
      <dgm:t>
        <a:bodyPr/>
        <a:lstStyle/>
        <a:p>
          <a:endParaRPr lang="fi-FI"/>
        </a:p>
      </dgm:t>
    </dgm:pt>
    <dgm:pt modelId="{ED70D507-CAFF-4173-B4F9-358A493DCF0B}" type="sibTrans" cxnId="{E48231D2-5504-49D7-B8BB-EC45D2F821EF}">
      <dgm:prSet/>
      <dgm:spPr/>
      <dgm:t>
        <a:bodyPr/>
        <a:lstStyle/>
        <a:p>
          <a:endParaRPr lang="fi-FI"/>
        </a:p>
      </dgm:t>
    </dgm:pt>
    <dgm:pt modelId="{BADEEDD1-2873-4251-B4A1-08314FCBA878}">
      <dgm:prSet/>
      <dgm:spPr/>
      <dgm:t>
        <a:bodyPr/>
        <a:lstStyle/>
        <a:p>
          <a:r>
            <a:rPr lang="fi-FI"/>
            <a:t>Digiympäristö mahdollistajana</a:t>
          </a:r>
        </a:p>
      </dgm:t>
    </dgm:pt>
    <dgm:pt modelId="{A078682C-D96E-4C39-AC6E-859AD73A9AC8}" type="parTrans" cxnId="{E239615A-9ECE-4FDD-ACB8-C02C0293F7B8}">
      <dgm:prSet/>
      <dgm:spPr/>
      <dgm:t>
        <a:bodyPr/>
        <a:lstStyle/>
        <a:p>
          <a:endParaRPr lang="fi-FI"/>
        </a:p>
      </dgm:t>
    </dgm:pt>
    <dgm:pt modelId="{DEBFE458-594A-46AE-87FA-D470104670F6}" type="sibTrans" cxnId="{E239615A-9ECE-4FDD-ACB8-C02C0293F7B8}">
      <dgm:prSet/>
      <dgm:spPr/>
      <dgm:t>
        <a:bodyPr/>
        <a:lstStyle/>
        <a:p>
          <a:endParaRPr lang="fi-FI"/>
        </a:p>
      </dgm:t>
    </dgm:pt>
    <dgm:pt modelId="{7E7511D4-F9E7-4DA0-ADC6-9C76B0C6AF1D}" type="pres">
      <dgm:prSet presAssocID="{F9CFA0E1-B5F8-4854-A16A-881F44865EC1}" presName="theList" presStyleCnt="0">
        <dgm:presLayoutVars>
          <dgm:dir/>
          <dgm:animLvl val="lvl"/>
          <dgm:resizeHandles val="exact"/>
        </dgm:presLayoutVars>
      </dgm:prSet>
      <dgm:spPr/>
    </dgm:pt>
    <dgm:pt modelId="{FCBF3B18-F291-435D-82EE-145F30C8335F}" type="pres">
      <dgm:prSet presAssocID="{BADEEDD1-2873-4251-B4A1-08314FCBA878}" presName="compNode" presStyleCnt="0"/>
      <dgm:spPr/>
    </dgm:pt>
    <dgm:pt modelId="{B22BEE1B-10F6-41C1-9369-F14884DBFE02}" type="pres">
      <dgm:prSet presAssocID="{BADEEDD1-2873-4251-B4A1-08314FCBA878}" presName="aNode" presStyleLbl="bgShp" presStyleIdx="0" presStyleCnt="1"/>
      <dgm:spPr/>
    </dgm:pt>
    <dgm:pt modelId="{4637FFD4-ECB6-4A6C-A8CD-6ECBFEFF9F10}" type="pres">
      <dgm:prSet presAssocID="{BADEEDD1-2873-4251-B4A1-08314FCBA878}" presName="textNode" presStyleLbl="bgShp" presStyleIdx="0" presStyleCnt="1"/>
      <dgm:spPr/>
    </dgm:pt>
    <dgm:pt modelId="{0E1BB9D9-6E63-4A73-AF80-197818BEC525}" type="pres">
      <dgm:prSet presAssocID="{BADEEDD1-2873-4251-B4A1-08314FCBA878}" presName="compChildNode" presStyleCnt="0"/>
      <dgm:spPr/>
    </dgm:pt>
    <dgm:pt modelId="{E0CE9AC8-8B78-4F17-8A93-1E0E93C57ADF}" type="pres">
      <dgm:prSet presAssocID="{BADEEDD1-2873-4251-B4A1-08314FCBA878}" presName="theInnerList" presStyleCnt="0"/>
      <dgm:spPr/>
    </dgm:pt>
    <dgm:pt modelId="{577851CA-A8FE-4C3F-84A0-C04388788BAB}" type="pres">
      <dgm:prSet presAssocID="{7774EFB1-9E40-4AAD-8AA5-7B60F764894C}" presName="childNode" presStyleLbl="node1" presStyleIdx="0" presStyleCnt="3">
        <dgm:presLayoutVars>
          <dgm:bulletEnabled val="1"/>
        </dgm:presLayoutVars>
      </dgm:prSet>
      <dgm:spPr/>
    </dgm:pt>
    <dgm:pt modelId="{DA9E1478-A167-4411-BE53-F0C5D70B79F2}" type="pres">
      <dgm:prSet presAssocID="{7774EFB1-9E40-4AAD-8AA5-7B60F764894C}" presName="aSpace2" presStyleCnt="0"/>
      <dgm:spPr/>
    </dgm:pt>
    <dgm:pt modelId="{A507AD3F-9C72-49F3-A5E4-002FC08AC378}" type="pres">
      <dgm:prSet presAssocID="{93C709B6-2B0A-42FE-95A2-5FAD437F68BE}" presName="childNode" presStyleLbl="node1" presStyleIdx="1" presStyleCnt="3">
        <dgm:presLayoutVars>
          <dgm:bulletEnabled val="1"/>
        </dgm:presLayoutVars>
      </dgm:prSet>
      <dgm:spPr/>
    </dgm:pt>
    <dgm:pt modelId="{4C387383-9061-4EE0-BF93-9ABDF192662F}" type="pres">
      <dgm:prSet presAssocID="{93C709B6-2B0A-42FE-95A2-5FAD437F68BE}" presName="aSpace2" presStyleCnt="0"/>
      <dgm:spPr/>
    </dgm:pt>
    <dgm:pt modelId="{9C919B0C-6B47-41A1-A028-8047963C3739}" type="pres">
      <dgm:prSet presAssocID="{9F2191BB-5917-4771-A24D-C48200D3E0DF}" presName="childNode" presStyleLbl="node1" presStyleIdx="2" presStyleCnt="3">
        <dgm:presLayoutVars>
          <dgm:bulletEnabled val="1"/>
        </dgm:presLayoutVars>
      </dgm:prSet>
      <dgm:spPr/>
    </dgm:pt>
  </dgm:ptLst>
  <dgm:cxnLst>
    <dgm:cxn modelId="{1F012B0A-E067-4367-9469-4CCD1F462D27}" type="presOf" srcId="{93C709B6-2B0A-42FE-95A2-5FAD437F68BE}" destId="{A507AD3F-9C72-49F3-A5E4-002FC08AC378}" srcOrd="0" destOrd="0" presId="urn:microsoft.com/office/officeart/2005/8/layout/lProcess2"/>
    <dgm:cxn modelId="{07179315-BE33-4BFC-B780-AE86AAF5681D}" type="presOf" srcId="{9F2191BB-5917-4771-A24D-C48200D3E0DF}" destId="{9C919B0C-6B47-41A1-A028-8047963C3739}" srcOrd="0" destOrd="0" presId="urn:microsoft.com/office/officeart/2005/8/layout/lProcess2"/>
    <dgm:cxn modelId="{84D0E01F-60B6-42FC-9781-BC64415D7B41}" type="presOf" srcId="{BADEEDD1-2873-4251-B4A1-08314FCBA878}" destId="{4637FFD4-ECB6-4A6C-A8CD-6ECBFEFF9F10}" srcOrd="1" destOrd="0" presId="urn:microsoft.com/office/officeart/2005/8/layout/lProcess2"/>
    <dgm:cxn modelId="{D462E120-64F1-45B1-829E-78DF8A46AFC7}" srcId="{BADEEDD1-2873-4251-B4A1-08314FCBA878}" destId="{7774EFB1-9E40-4AAD-8AA5-7B60F764894C}" srcOrd="0" destOrd="0" parTransId="{4444E9D7-8C73-4278-9C5A-23E905C2BA31}" sibTransId="{7D9055C1-0C02-4D1C-A40B-4E61C04D7FA8}"/>
    <dgm:cxn modelId="{7AD30039-BD7A-4DB6-8A5F-E6245EA6F954}" type="presOf" srcId="{7774EFB1-9E40-4AAD-8AA5-7B60F764894C}" destId="{577851CA-A8FE-4C3F-84A0-C04388788BAB}" srcOrd="0" destOrd="0" presId="urn:microsoft.com/office/officeart/2005/8/layout/lProcess2"/>
    <dgm:cxn modelId="{5F5CD95F-86AC-4654-9055-90A0748DB61B}" type="presOf" srcId="{F9CFA0E1-B5F8-4854-A16A-881F44865EC1}" destId="{7E7511D4-F9E7-4DA0-ADC6-9C76B0C6AF1D}" srcOrd="0" destOrd="0" presId="urn:microsoft.com/office/officeart/2005/8/layout/lProcess2"/>
    <dgm:cxn modelId="{E239615A-9ECE-4FDD-ACB8-C02C0293F7B8}" srcId="{F9CFA0E1-B5F8-4854-A16A-881F44865EC1}" destId="{BADEEDD1-2873-4251-B4A1-08314FCBA878}" srcOrd="0" destOrd="0" parTransId="{A078682C-D96E-4C39-AC6E-859AD73A9AC8}" sibTransId="{DEBFE458-594A-46AE-87FA-D470104670F6}"/>
    <dgm:cxn modelId="{E5F34EB0-773A-48D9-99C2-943114F7F986}" srcId="{BADEEDD1-2873-4251-B4A1-08314FCBA878}" destId="{93C709B6-2B0A-42FE-95A2-5FAD437F68BE}" srcOrd="1" destOrd="0" parTransId="{E724D225-AE88-4EB9-9AAA-4AE6B4F4E09A}" sibTransId="{0362855B-87E5-4F40-B94C-0534523460B4}"/>
    <dgm:cxn modelId="{E48231D2-5504-49D7-B8BB-EC45D2F821EF}" srcId="{BADEEDD1-2873-4251-B4A1-08314FCBA878}" destId="{9F2191BB-5917-4771-A24D-C48200D3E0DF}" srcOrd="2" destOrd="0" parTransId="{030B1BF8-2D39-4FD9-A544-3FC89CB5AE4D}" sibTransId="{ED70D507-CAFF-4173-B4F9-358A493DCF0B}"/>
    <dgm:cxn modelId="{427E15E9-CD9D-432B-8B97-69C14036F037}" type="presOf" srcId="{BADEEDD1-2873-4251-B4A1-08314FCBA878}" destId="{B22BEE1B-10F6-41C1-9369-F14884DBFE02}" srcOrd="0" destOrd="0" presId="urn:microsoft.com/office/officeart/2005/8/layout/lProcess2"/>
    <dgm:cxn modelId="{DEEB38EB-888B-48B3-A47B-6F81046F9022}" type="presParOf" srcId="{7E7511D4-F9E7-4DA0-ADC6-9C76B0C6AF1D}" destId="{FCBF3B18-F291-435D-82EE-145F30C8335F}" srcOrd="0" destOrd="0" presId="urn:microsoft.com/office/officeart/2005/8/layout/lProcess2"/>
    <dgm:cxn modelId="{AADBD034-5713-4A96-8C78-79CD9F7F7635}" type="presParOf" srcId="{FCBF3B18-F291-435D-82EE-145F30C8335F}" destId="{B22BEE1B-10F6-41C1-9369-F14884DBFE02}" srcOrd="0" destOrd="0" presId="urn:microsoft.com/office/officeart/2005/8/layout/lProcess2"/>
    <dgm:cxn modelId="{0DF550AD-BEF4-4F59-AC5C-B175F2E06153}" type="presParOf" srcId="{FCBF3B18-F291-435D-82EE-145F30C8335F}" destId="{4637FFD4-ECB6-4A6C-A8CD-6ECBFEFF9F10}" srcOrd="1" destOrd="0" presId="urn:microsoft.com/office/officeart/2005/8/layout/lProcess2"/>
    <dgm:cxn modelId="{4C3089B1-5374-417C-BD85-A6E9D36E39FE}" type="presParOf" srcId="{FCBF3B18-F291-435D-82EE-145F30C8335F}" destId="{0E1BB9D9-6E63-4A73-AF80-197818BEC525}" srcOrd="2" destOrd="0" presId="urn:microsoft.com/office/officeart/2005/8/layout/lProcess2"/>
    <dgm:cxn modelId="{47E6E454-841F-47E9-BF31-DDF3E9FDE194}" type="presParOf" srcId="{0E1BB9D9-6E63-4A73-AF80-197818BEC525}" destId="{E0CE9AC8-8B78-4F17-8A93-1E0E93C57ADF}" srcOrd="0" destOrd="0" presId="urn:microsoft.com/office/officeart/2005/8/layout/lProcess2"/>
    <dgm:cxn modelId="{E7DC299A-5A48-4E5E-A0EC-C7AC21F1E492}" type="presParOf" srcId="{E0CE9AC8-8B78-4F17-8A93-1E0E93C57ADF}" destId="{577851CA-A8FE-4C3F-84A0-C04388788BAB}" srcOrd="0" destOrd="0" presId="urn:microsoft.com/office/officeart/2005/8/layout/lProcess2"/>
    <dgm:cxn modelId="{34DED4C8-86D9-4100-9D5D-D375B0B21DC6}" type="presParOf" srcId="{E0CE9AC8-8B78-4F17-8A93-1E0E93C57ADF}" destId="{DA9E1478-A167-4411-BE53-F0C5D70B79F2}" srcOrd="1" destOrd="0" presId="urn:microsoft.com/office/officeart/2005/8/layout/lProcess2"/>
    <dgm:cxn modelId="{E2934B46-D535-4C65-B2AE-047F403D6FDA}" type="presParOf" srcId="{E0CE9AC8-8B78-4F17-8A93-1E0E93C57ADF}" destId="{A507AD3F-9C72-49F3-A5E4-002FC08AC378}" srcOrd="2" destOrd="0" presId="urn:microsoft.com/office/officeart/2005/8/layout/lProcess2"/>
    <dgm:cxn modelId="{62EA7667-8F76-47A6-A992-AF40284369D0}" type="presParOf" srcId="{E0CE9AC8-8B78-4F17-8A93-1E0E93C57ADF}" destId="{4C387383-9061-4EE0-BF93-9ABDF192662F}" srcOrd="3" destOrd="0" presId="urn:microsoft.com/office/officeart/2005/8/layout/lProcess2"/>
    <dgm:cxn modelId="{C480690E-E43E-4500-8FC7-05E3024A5F9F}" type="presParOf" srcId="{E0CE9AC8-8B78-4F17-8A93-1E0E93C57ADF}" destId="{9C919B0C-6B47-41A1-A028-8047963C373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A7CF268-EF7D-40C7-AFA5-5DC22D28196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741A334D-6326-42B4-ADD1-8B321D3CF4DB}">
      <dgm:prSet/>
      <dgm:spPr/>
      <dgm:t>
        <a:bodyPr/>
        <a:lstStyle/>
        <a:p>
          <a:r>
            <a:rPr lang="fi-FI"/>
            <a:t>Olemassa olevien sähköisten palvelujen tunteminen ja käyttöosaaminen</a:t>
          </a:r>
        </a:p>
      </dgm:t>
    </dgm:pt>
    <dgm:pt modelId="{51A76551-1576-4537-94AE-EF1DE2E4C6AF}" type="parTrans" cxnId="{5117DC7E-1615-4179-8F50-2F800A4310F9}">
      <dgm:prSet/>
      <dgm:spPr/>
      <dgm:t>
        <a:bodyPr/>
        <a:lstStyle/>
        <a:p>
          <a:endParaRPr lang="fi-FI"/>
        </a:p>
      </dgm:t>
    </dgm:pt>
    <dgm:pt modelId="{54B7924A-9313-48A7-8CD0-0851A45BA65A}" type="sibTrans" cxnId="{5117DC7E-1615-4179-8F50-2F800A4310F9}">
      <dgm:prSet/>
      <dgm:spPr/>
      <dgm:t>
        <a:bodyPr/>
        <a:lstStyle/>
        <a:p>
          <a:endParaRPr lang="fi-FI"/>
        </a:p>
      </dgm:t>
    </dgm:pt>
    <dgm:pt modelId="{9A660FBC-4E79-4FB5-ABF5-AF9172AFADD8}">
      <dgm:prSet/>
      <dgm:spPr/>
      <dgm:t>
        <a:bodyPr/>
        <a:lstStyle/>
        <a:p>
          <a:r>
            <a:rPr lang="fi-FI"/>
            <a:t>Sähköisten palvelujen valtakunnallisen tilanteen ja kehittymissuuntien ymmärtäminen ja arviointi sekä kyky soveltaa niitä suhteessa omaan organisaatioon</a:t>
          </a:r>
        </a:p>
      </dgm:t>
    </dgm:pt>
    <dgm:pt modelId="{768B2C10-5D6E-40D3-A513-C6E6A70BE32A}" type="parTrans" cxnId="{B8ED0710-F0BF-4DF7-8AAB-41D0B1AF7241}">
      <dgm:prSet/>
      <dgm:spPr/>
      <dgm:t>
        <a:bodyPr/>
        <a:lstStyle/>
        <a:p>
          <a:endParaRPr lang="fi-FI"/>
        </a:p>
      </dgm:t>
    </dgm:pt>
    <dgm:pt modelId="{CBF16D2D-E7CA-4F12-B699-F687480FE52F}" type="sibTrans" cxnId="{B8ED0710-F0BF-4DF7-8AAB-41D0B1AF7241}">
      <dgm:prSet/>
      <dgm:spPr/>
      <dgm:t>
        <a:bodyPr/>
        <a:lstStyle/>
        <a:p>
          <a:endParaRPr lang="fi-FI"/>
        </a:p>
      </dgm:t>
    </dgm:pt>
    <dgm:pt modelId="{4FB87A71-7111-4439-A236-D9FBAF7A51F7}">
      <dgm:prSet/>
      <dgm:spPr/>
      <dgm:t>
        <a:bodyPr/>
        <a:lstStyle/>
        <a:p>
          <a:r>
            <a:rPr lang="fi-FI"/>
            <a:t>Uusien digitaalisten palvelujen selvitystyössä ja käyttöönotossa mukana oleminen</a:t>
          </a:r>
        </a:p>
      </dgm:t>
    </dgm:pt>
    <dgm:pt modelId="{E0A33854-F29C-4E9E-BF4A-CA1618863F5A}" type="parTrans" cxnId="{E04A6B96-9601-4FB5-AFED-1B508F66F13D}">
      <dgm:prSet/>
      <dgm:spPr/>
      <dgm:t>
        <a:bodyPr/>
        <a:lstStyle/>
        <a:p>
          <a:endParaRPr lang="fi-FI"/>
        </a:p>
      </dgm:t>
    </dgm:pt>
    <dgm:pt modelId="{155089C7-6BDD-4049-B4A3-93ECC1D57C52}" type="sibTrans" cxnId="{E04A6B96-9601-4FB5-AFED-1B508F66F13D}">
      <dgm:prSet/>
      <dgm:spPr/>
      <dgm:t>
        <a:bodyPr/>
        <a:lstStyle/>
        <a:p>
          <a:endParaRPr lang="fi-FI"/>
        </a:p>
      </dgm:t>
    </dgm:pt>
    <dgm:pt modelId="{B5B8222A-7D05-412C-837F-E84CA03E0A92}">
      <dgm:prSet custT="1"/>
      <dgm:spPr/>
      <dgm:t>
        <a:bodyPr/>
        <a:lstStyle/>
        <a:p>
          <a:r>
            <a:rPr lang="fi-FI" sz="1800"/>
            <a:t>Operatiivisen toiminnan tukena oleminen</a:t>
          </a:r>
        </a:p>
      </dgm:t>
    </dgm:pt>
    <dgm:pt modelId="{DBB2762E-9437-4828-963D-1A48C9FFD58D}" type="parTrans" cxnId="{CB4FC5F5-9295-428A-AE01-81DA88FCF9EC}">
      <dgm:prSet/>
      <dgm:spPr/>
      <dgm:t>
        <a:bodyPr/>
        <a:lstStyle/>
        <a:p>
          <a:endParaRPr lang="fi-FI"/>
        </a:p>
      </dgm:t>
    </dgm:pt>
    <dgm:pt modelId="{1D09F4B3-112F-425F-848A-B36641C1E24C}" type="sibTrans" cxnId="{CB4FC5F5-9295-428A-AE01-81DA88FCF9EC}">
      <dgm:prSet/>
      <dgm:spPr/>
      <dgm:t>
        <a:bodyPr/>
        <a:lstStyle/>
        <a:p>
          <a:endParaRPr lang="fi-FI"/>
        </a:p>
      </dgm:t>
    </dgm:pt>
    <dgm:pt modelId="{C8F8C5EB-16E5-4689-A85D-78C52CE3DD24}">
      <dgm:prSet/>
      <dgm:spPr/>
      <dgm:t>
        <a:bodyPr/>
        <a:lstStyle/>
        <a:p>
          <a:r>
            <a:rPr lang="fi-FI"/>
            <a:t>Palvelujen ja prosessien kehittäminen osana kokonaisarkkitehtuuria erilaisia menetelmiä hyödyntäen (palvelumuotoilu, </a:t>
          </a:r>
          <a:r>
            <a:rPr lang="fi-FI" err="1"/>
            <a:t>lean</a:t>
          </a:r>
          <a:r>
            <a:rPr lang="fi-FI"/>
            <a:t>)</a:t>
          </a:r>
        </a:p>
      </dgm:t>
    </dgm:pt>
    <dgm:pt modelId="{6C83057D-EF83-481D-B28F-1382C3CC78B6}" type="parTrans" cxnId="{E208AA79-7444-477C-8605-635B624582F0}">
      <dgm:prSet/>
      <dgm:spPr/>
      <dgm:t>
        <a:bodyPr/>
        <a:lstStyle/>
        <a:p>
          <a:endParaRPr lang="fi-FI"/>
        </a:p>
      </dgm:t>
    </dgm:pt>
    <dgm:pt modelId="{6386B0F9-42F8-4A6F-996C-0BAFF05F11C9}" type="sibTrans" cxnId="{E208AA79-7444-477C-8605-635B624582F0}">
      <dgm:prSet/>
      <dgm:spPr/>
      <dgm:t>
        <a:bodyPr/>
        <a:lstStyle/>
        <a:p>
          <a:endParaRPr lang="fi-FI"/>
        </a:p>
      </dgm:t>
    </dgm:pt>
    <dgm:pt modelId="{30CA2E37-1CA5-4A6E-9DAC-749B66B91FF9}">
      <dgm:prSet/>
      <dgm:spPr/>
      <dgm:t>
        <a:bodyPr/>
        <a:lstStyle/>
        <a:p>
          <a:r>
            <a:rPr lang="fi-FI"/>
            <a:t>Palvelujen kuvaaminen ja yhteyksien rakentaminen ja analysoiminen</a:t>
          </a:r>
        </a:p>
      </dgm:t>
    </dgm:pt>
    <dgm:pt modelId="{EE527895-870C-4602-BD33-C3EA414E4DCF}" type="parTrans" cxnId="{E147CB88-3DCC-44B2-A582-797A33730F44}">
      <dgm:prSet/>
      <dgm:spPr/>
      <dgm:t>
        <a:bodyPr/>
        <a:lstStyle/>
        <a:p>
          <a:endParaRPr lang="fi-FI"/>
        </a:p>
      </dgm:t>
    </dgm:pt>
    <dgm:pt modelId="{E69280FB-556F-45D0-BA11-6537699B473B}" type="sibTrans" cxnId="{E147CB88-3DCC-44B2-A582-797A33730F44}">
      <dgm:prSet/>
      <dgm:spPr/>
      <dgm:t>
        <a:bodyPr/>
        <a:lstStyle/>
        <a:p>
          <a:endParaRPr lang="fi-FI"/>
        </a:p>
      </dgm:t>
    </dgm:pt>
    <dgm:pt modelId="{40D46383-08A9-4790-BABA-888570BC25D1}">
      <dgm:prSet/>
      <dgm:spPr/>
      <dgm:t>
        <a:bodyPr/>
        <a:lstStyle/>
        <a:p>
          <a:r>
            <a:rPr lang="fi-FI"/>
            <a:t>Prosessien ajan tasalla pitäminen (kuvaaminen ja järjestäminen), yhteyksien rakentaminen ja analysoiminen</a:t>
          </a:r>
        </a:p>
      </dgm:t>
    </dgm:pt>
    <dgm:pt modelId="{1B822B66-BFE0-4B3A-A03A-38EB631E77F9}" type="parTrans" cxnId="{4310598A-2783-4EE1-A9C0-6CC3029CCE00}">
      <dgm:prSet/>
      <dgm:spPr/>
      <dgm:t>
        <a:bodyPr/>
        <a:lstStyle/>
        <a:p>
          <a:endParaRPr lang="fi-FI"/>
        </a:p>
      </dgm:t>
    </dgm:pt>
    <dgm:pt modelId="{06A1AFCC-643A-425F-84AD-F72ACFA9F8A5}" type="sibTrans" cxnId="{4310598A-2783-4EE1-A9C0-6CC3029CCE00}">
      <dgm:prSet/>
      <dgm:spPr/>
      <dgm:t>
        <a:bodyPr/>
        <a:lstStyle/>
        <a:p>
          <a:endParaRPr lang="fi-FI"/>
        </a:p>
      </dgm:t>
    </dgm:pt>
    <dgm:pt modelId="{30D612B7-5095-45EE-90D2-1A9E82E7D3F8}">
      <dgm:prSet/>
      <dgm:spPr/>
      <dgm:t>
        <a:bodyPr/>
        <a:lstStyle/>
        <a:p>
          <a:r>
            <a:rPr lang="fi-FI" err="1"/>
            <a:t>Arc</a:t>
          </a:r>
          <a:r>
            <a:rPr lang="fi-FI"/>
            <a:t>-kokonaisarkkitehtuuriohjelman käyttöosaaminen ja arvioiminen </a:t>
          </a:r>
        </a:p>
      </dgm:t>
    </dgm:pt>
    <dgm:pt modelId="{A3633585-9EDC-438C-B54C-F1C0C3B42C15}" type="parTrans" cxnId="{A59B4D3B-E31B-4413-A021-20A01384D1D2}">
      <dgm:prSet/>
      <dgm:spPr/>
      <dgm:t>
        <a:bodyPr/>
        <a:lstStyle/>
        <a:p>
          <a:endParaRPr lang="fi-FI"/>
        </a:p>
      </dgm:t>
    </dgm:pt>
    <dgm:pt modelId="{33E2FD6A-A74F-43E1-9565-46171DBAECEE}" type="sibTrans" cxnId="{A59B4D3B-E31B-4413-A021-20A01384D1D2}">
      <dgm:prSet/>
      <dgm:spPr/>
      <dgm:t>
        <a:bodyPr/>
        <a:lstStyle/>
        <a:p>
          <a:endParaRPr lang="fi-FI"/>
        </a:p>
      </dgm:t>
    </dgm:pt>
    <dgm:pt modelId="{03C78BA3-E464-4124-B68D-5D2C0B47B5EC}">
      <dgm:prSet/>
      <dgm:spPr/>
      <dgm:t>
        <a:bodyPr/>
        <a:lstStyle/>
        <a:p>
          <a:r>
            <a:rPr lang="fi-FI"/>
            <a:t>Kehittämissalkun käyttäminen, kehittämistöiden koordinointi omalla vastuu- / tehtäväalueella</a:t>
          </a:r>
        </a:p>
      </dgm:t>
    </dgm:pt>
    <dgm:pt modelId="{95AB8C96-92F2-42BA-A078-0FFC02917DC4}" type="parTrans" cxnId="{5923A08D-C0BA-4BB0-885B-71DBAB47F8AC}">
      <dgm:prSet/>
      <dgm:spPr/>
      <dgm:t>
        <a:bodyPr/>
        <a:lstStyle/>
        <a:p>
          <a:endParaRPr lang="fi-FI"/>
        </a:p>
      </dgm:t>
    </dgm:pt>
    <dgm:pt modelId="{4E999FE0-36C6-4D34-B1AD-8E5B3547D62D}" type="sibTrans" cxnId="{5923A08D-C0BA-4BB0-885B-71DBAB47F8AC}">
      <dgm:prSet/>
      <dgm:spPr/>
      <dgm:t>
        <a:bodyPr/>
        <a:lstStyle/>
        <a:p>
          <a:endParaRPr lang="fi-FI"/>
        </a:p>
      </dgm:t>
    </dgm:pt>
    <dgm:pt modelId="{042D7EEE-D0F0-44E0-819D-98425B840B19}">
      <dgm:prSet custT="1"/>
      <dgm:spPr/>
      <dgm:t>
        <a:bodyPr/>
        <a:lstStyle/>
        <a:p>
          <a:r>
            <a:rPr lang="fi-FI" sz="1800"/>
            <a:t>Sähköiset palvelut</a:t>
          </a:r>
        </a:p>
      </dgm:t>
    </dgm:pt>
    <dgm:pt modelId="{B8CE8CDC-2C36-406A-843A-92D3B84AC9D1}" type="parTrans" cxnId="{B721465A-07C3-4439-8BF6-DDC61192DA4A}">
      <dgm:prSet/>
      <dgm:spPr/>
      <dgm:t>
        <a:bodyPr/>
        <a:lstStyle/>
        <a:p>
          <a:endParaRPr lang="fi-FI"/>
        </a:p>
      </dgm:t>
    </dgm:pt>
    <dgm:pt modelId="{EB2814BA-F6DB-459F-A127-98C7EE972D89}" type="sibTrans" cxnId="{B721465A-07C3-4439-8BF6-DDC61192DA4A}">
      <dgm:prSet/>
      <dgm:spPr/>
      <dgm:t>
        <a:bodyPr/>
        <a:lstStyle/>
        <a:p>
          <a:endParaRPr lang="fi-FI"/>
        </a:p>
      </dgm:t>
    </dgm:pt>
    <dgm:pt modelId="{ADA3AAA6-6F1E-4E92-83F0-D1D2BE0B07DC}">
      <dgm:prSet custT="1"/>
      <dgm:spPr/>
      <dgm:t>
        <a:bodyPr/>
        <a:lstStyle/>
        <a:p>
          <a:r>
            <a:rPr lang="fi-FI" sz="1800"/>
            <a:t>Palvelut ja prosessit</a:t>
          </a:r>
        </a:p>
      </dgm:t>
    </dgm:pt>
    <dgm:pt modelId="{F75A7F04-7D10-43E7-B07F-495315F4C206}" type="parTrans" cxnId="{4F4516E8-3765-4941-BE08-898F5F6F3272}">
      <dgm:prSet/>
      <dgm:spPr/>
      <dgm:t>
        <a:bodyPr/>
        <a:lstStyle/>
        <a:p>
          <a:endParaRPr lang="fi-FI"/>
        </a:p>
      </dgm:t>
    </dgm:pt>
    <dgm:pt modelId="{E96E2B7C-FD06-4A8C-BAB8-9F831353D397}" type="sibTrans" cxnId="{4F4516E8-3765-4941-BE08-898F5F6F3272}">
      <dgm:prSet/>
      <dgm:spPr/>
      <dgm:t>
        <a:bodyPr/>
        <a:lstStyle/>
        <a:p>
          <a:endParaRPr lang="fi-FI"/>
        </a:p>
      </dgm:t>
    </dgm:pt>
    <dgm:pt modelId="{7E593441-447E-49C1-ABFB-4160FF4BC778}">
      <dgm:prSet custT="1"/>
      <dgm:spPr/>
      <dgm:t>
        <a:bodyPr/>
        <a:lstStyle/>
        <a:p>
          <a:r>
            <a:rPr lang="fi-FI" sz="1800"/>
            <a:t>Kehittäminen ja KA</a:t>
          </a:r>
        </a:p>
      </dgm:t>
    </dgm:pt>
    <dgm:pt modelId="{ABB84D4F-2B4E-4AAC-9BFB-5B061C48C1A0}" type="parTrans" cxnId="{1590D839-892B-4F42-969F-9EC2CAA45E1A}">
      <dgm:prSet/>
      <dgm:spPr/>
      <dgm:t>
        <a:bodyPr/>
        <a:lstStyle/>
        <a:p>
          <a:endParaRPr lang="fi-FI"/>
        </a:p>
      </dgm:t>
    </dgm:pt>
    <dgm:pt modelId="{00D99045-C37D-4F08-8A6B-22E82CA69A6C}" type="sibTrans" cxnId="{1590D839-892B-4F42-969F-9EC2CAA45E1A}">
      <dgm:prSet/>
      <dgm:spPr/>
      <dgm:t>
        <a:bodyPr/>
        <a:lstStyle/>
        <a:p>
          <a:endParaRPr lang="fi-FI"/>
        </a:p>
      </dgm:t>
    </dgm:pt>
    <dgm:pt modelId="{D3225CB6-5A4D-4870-BD26-34555AF301F3}">
      <dgm:prSet/>
      <dgm:spPr/>
      <dgm:t>
        <a:bodyPr/>
        <a:lstStyle/>
        <a:p>
          <a:r>
            <a:rPr lang="fi-FI"/>
            <a:t>Kehittämisehdotuslomakkeen käyttö ja käyttöön opastaminen</a:t>
          </a:r>
        </a:p>
      </dgm:t>
    </dgm:pt>
    <dgm:pt modelId="{5DDF771D-133E-4462-B40F-65F486ECB21B}" type="parTrans" cxnId="{629BD8AE-234A-4154-A093-8BDF38733374}">
      <dgm:prSet/>
      <dgm:spPr/>
      <dgm:t>
        <a:bodyPr/>
        <a:lstStyle/>
        <a:p>
          <a:endParaRPr lang="fi-FI"/>
        </a:p>
      </dgm:t>
    </dgm:pt>
    <dgm:pt modelId="{C374E632-2EFA-494E-9CA9-2495104AE017}" type="sibTrans" cxnId="{629BD8AE-234A-4154-A093-8BDF38733374}">
      <dgm:prSet/>
      <dgm:spPr/>
      <dgm:t>
        <a:bodyPr/>
        <a:lstStyle/>
        <a:p>
          <a:endParaRPr lang="fi-FI"/>
        </a:p>
      </dgm:t>
    </dgm:pt>
    <dgm:pt modelId="{14989960-69EA-4698-B447-95BB02AE424B}">
      <dgm:prSet/>
      <dgm:spPr/>
      <dgm:t>
        <a:bodyPr/>
        <a:lstStyle/>
        <a:p>
          <a:r>
            <a:rPr lang="fi-FI"/>
            <a:t>Digitalisaation soveltamisen organisointi ja koordinointi</a:t>
          </a:r>
        </a:p>
      </dgm:t>
    </dgm:pt>
    <dgm:pt modelId="{BE22628A-9D6E-4BFA-BCAF-F3E03846B48E}" type="parTrans" cxnId="{37FAE153-1AA9-41E6-822D-2356D6BEBCD0}">
      <dgm:prSet/>
      <dgm:spPr/>
      <dgm:t>
        <a:bodyPr/>
        <a:lstStyle/>
        <a:p>
          <a:endParaRPr lang="fi-FI"/>
        </a:p>
      </dgm:t>
    </dgm:pt>
    <dgm:pt modelId="{7BDD0F8A-36AD-42B9-9690-77206CC66A54}" type="sibTrans" cxnId="{37FAE153-1AA9-41E6-822D-2356D6BEBCD0}">
      <dgm:prSet/>
      <dgm:spPr/>
      <dgm:t>
        <a:bodyPr/>
        <a:lstStyle/>
        <a:p>
          <a:endParaRPr lang="fi-FI"/>
        </a:p>
      </dgm:t>
    </dgm:pt>
    <dgm:pt modelId="{9B341E3D-5E00-4D93-BB98-0BDB261F7084}">
      <dgm:prSet/>
      <dgm:spPr/>
      <dgm:t>
        <a:bodyPr/>
        <a:lstStyle/>
        <a:p>
          <a:r>
            <a:rPr lang="fi-FI"/>
            <a:t>Laiteosaaminen</a:t>
          </a:r>
        </a:p>
      </dgm:t>
    </dgm:pt>
    <dgm:pt modelId="{E302183D-518A-433D-B350-59D25C4CC677}" type="parTrans" cxnId="{C353D823-655F-4AAF-A6AB-066757F321C3}">
      <dgm:prSet/>
      <dgm:spPr/>
      <dgm:t>
        <a:bodyPr/>
        <a:lstStyle/>
        <a:p>
          <a:endParaRPr lang="fi-FI"/>
        </a:p>
      </dgm:t>
    </dgm:pt>
    <dgm:pt modelId="{93C2B1F4-7D24-457E-8EDF-84434FA05D85}" type="sibTrans" cxnId="{C353D823-655F-4AAF-A6AB-066757F321C3}">
      <dgm:prSet/>
      <dgm:spPr/>
      <dgm:t>
        <a:bodyPr/>
        <a:lstStyle/>
        <a:p>
          <a:endParaRPr lang="fi-FI"/>
        </a:p>
      </dgm:t>
    </dgm:pt>
    <dgm:pt modelId="{43B27BA9-CA0F-462C-8AE2-15511C296B58}">
      <dgm:prSet/>
      <dgm:spPr/>
      <dgm:t>
        <a:bodyPr/>
        <a:lstStyle/>
        <a:p>
          <a:r>
            <a:rPr lang="fi-FI"/>
            <a:t>Teknologian ymmärtäminen ja soveltaminen</a:t>
          </a:r>
        </a:p>
      </dgm:t>
    </dgm:pt>
    <dgm:pt modelId="{33D87267-EE38-40D4-BB6E-53EB110BE621}" type="parTrans" cxnId="{B6E634D1-86A4-4640-B436-9961D5A77871}">
      <dgm:prSet/>
      <dgm:spPr/>
      <dgm:t>
        <a:bodyPr/>
        <a:lstStyle/>
        <a:p>
          <a:endParaRPr lang="fi-FI"/>
        </a:p>
      </dgm:t>
    </dgm:pt>
    <dgm:pt modelId="{D0CE35D9-D2F0-4CEF-B4BC-0DA9AAB18FA9}" type="sibTrans" cxnId="{B6E634D1-86A4-4640-B436-9961D5A77871}">
      <dgm:prSet/>
      <dgm:spPr/>
      <dgm:t>
        <a:bodyPr/>
        <a:lstStyle/>
        <a:p>
          <a:endParaRPr lang="fi-FI"/>
        </a:p>
      </dgm:t>
    </dgm:pt>
    <dgm:pt modelId="{414D0B97-D5B9-4B84-AADF-A6DE36F9A7D2}" type="pres">
      <dgm:prSet presAssocID="{2A7CF268-EF7D-40C7-AFA5-5DC22D281967}" presName="Name0" presStyleCnt="0">
        <dgm:presLayoutVars>
          <dgm:dir/>
          <dgm:animLvl val="lvl"/>
          <dgm:resizeHandles val="exact"/>
        </dgm:presLayoutVars>
      </dgm:prSet>
      <dgm:spPr/>
    </dgm:pt>
    <dgm:pt modelId="{8F78FA7A-7B3D-4828-AF03-7687A33D3231}" type="pres">
      <dgm:prSet presAssocID="{042D7EEE-D0F0-44E0-819D-98425B840B19}" presName="composite" presStyleCnt="0"/>
      <dgm:spPr/>
    </dgm:pt>
    <dgm:pt modelId="{2CBD7CCA-3BB3-4954-BB70-5D5F66BC43B0}" type="pres">
      <dgm:prSet presAssocID="{042D7EEE-D0F0-44E0-819D-98425B840B1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F3383CA3-6F5E-47B5-9D3F-991A400AF6D3}" type="pres">
      <dgm:prSet presAssocID="{042D7EEE-D0F0-44E0-819D-98425B840B19}" presName="desTx" presStyleLbl="alignAccFollowNode1" presStyleIdx="0" presStyleCnt="4">
        <dgm:presLayoutVars>
          <dgm:bulletEnabled val="1"/>
        </dgm:presLayoutVars>
      </dgm:prSet>
      <dgm:spPr/>
    </dgm:pt>
    <dgm:pt modelId="{E888CD37-9797-4589-8ECC-088A59D19C15}" type="pres">
      <dgm:prSet presAssocID="{EB2814BA-F6DB-459F-A127-98C7EE972D89}" presName="space" presStyleCnt="0"/>
      <dgm:spPr/>
    </dgm:pt>
    <dgm:pt modelId="{A7432C09-8665-41C0-88C3-3249FA59906C}" type="pres">
      <dgm:prSet presAssocID="{ADA3AAA6-6F1E-4E92-83F0-D1D2BE0B07DC}" presName="composite" presStyleCnt="0"/>
      <dgm:spPr/>
    </dgm:pt>
    <dgm:pt modelId="{7F78F221-BF73-4112-9C48-FB537B1568EE}" type="pres">
      <dgm:prSet presAssocID="{ADA3AAA6-6F1E-4E92-83F0-D1D2BE0B07DC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7C3288CC-4367-471C-9FE8-AD252C521918}" type="pres">
      <dgm:prSet presAssocID="{ADA3AAA6-6F1E-4E92-83F0-D1D2BE0B07DC}" presName="desTx" presStyleLbl="alignAccFollowNode1" presStyleIdx="1" presStyleCnt="4">
        <dgm:presLayoutVars>
          <dgm:bulletEnabled val="1"/>
        </dgm:presLayoutVars>
      </dgm:prSet>
      <dgm:spPr/>
    </dgm:pt>
    <dgm:pt modelId="{54A3FC0A-90C6-4746-B0CB-959A93C97E41}" type="pres">
      <dgm:prSet presAssocID="{E96E2B7C-FD06-4A8C-BAB8-9F831353D397}" presName="space" presStyleCnt="0"/>
      <dgm:spPr/>
    </dgm:pt>
    <dgm:pt modelId="{0DCBFA21-63F8-4985-9835-6D3D9A31660F}" type="pres">
      <dgm:prSet presAssocID="{7E593441-447E-49C1-ABFB-4160FF4BC778}" presName="composite" presStyleCnt="0"/>
      <dgm:spPr/>
    </dgm:pt>
    <dgm:pt modelId="{B8AA1FDB-6540-4282-A7C1-6A6D71283F67}" type="pres">
      <dgm:prSet presAssocID="{7E593441-447E-49C1-ABFB-4160FF4BC778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FC47B4F8-E933-4603-8AA8-1684776A61E7}" type="pres">
      <dgm:prSet presAssocID="{7E593441-447E-49C1-ABFB-4160FF4BC778}" presName="desTx" presStyleLbl="alignAccFollowNode1" presStyleIdx="2" presStyleCnt="4">
        <dgm:presLayoutVars>
          <dgm:bulletEnabled val="1"/>
        </dgm:presLayoutVars>
      </dgm:prSet>
      <dgm:spPr/>
    </dgm:pt>
    <dgm:pt modelId="{0C75A054-5E4D-4980-9938-24E948E4E1E0}" type="pres">
      <dgm:prSet presAssocID="{00D99045-C37D-4F08-8A6B-22E82CA69A6C}" presName="space" presStyleCnt="0"/>
      <dgm:spPr/>
    </dgm:pt>
    <dgm:pt modelId="{9745971A-B4C9-43FB-9BFA-C39BCE318EAA}" type="pres">
      <dgm:prSet presAssocID="{B5B8222A-7D05-412C-837F-E84CA03E0A92}" presName="composite" presStyleCnt="0"/>
      <dgm:spPr/>
    </dgm:pt>
    <dgm:pt modelId="{E7D5F5BC-4F52-4B61-A494-99617534F5CA}" type="pres">
      <dgm:prSet presAssocID="{B5B8222A-7D05-412C-837F-E84CA03E0A92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4754E982-23FC-427F-B6B0-80F356D21C04}" type="pres">
      <dgm:prSet presAssocID="{B5B8222A-7D05-412C-837F-E84CA03E0A92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C6AC9D0F-25F6-4133-9461-4DA5164839D6}" type="presOf" srcId="{B5B8222A-7D05-412C-837F-E84CA03E0A92}" destId="{E7D5F5BC-4F52-4B61-A494-99617534F5CA}" srcOrd="0" destOrd="0" presId="urn:microsoft.com/office/officeart/2005/8/layout/hList1"/>
    <dgm:cxn modelId="{B8ED0710-F0BF-4DF7-8AAB-41D0B1AF7241}" srcId="{042D7EEE-D0F0-44E0-819D-98425B840B19}" destId="{9A660FBC-4E79-4FB5-ABF5-AF9172AFADD8}" srcOrd="1" destOrd="0" parTransId="{768B2C10-5D6E-40D3-A513-C6E6A70BE32A}" sibTransId="{CBF16D2D-E7CA-4F12-B699-F687480FE52F}"/>
    <dgm:cxn modelId="{0EBBC117-279A-4D02-9F9D-2079D694E613}" type="presOf" srcId="{C8F8C5EB-16E5-4689-A85D-78C52CE3DD24}" destId="{7C3288CC-4367-471C-9FE8-AD252C521918}" srcOrd="0" destOrd="0" presId="urn:microsoft.com/office/officeart/2005/8/layout/hList1"/>
    <dgm:cxn modelId="{C353D823-655F-4AAF-A6AB-066757F321C3}" srcId="{B5B8222A-7D05-412C-837F-E84CA03E0A92}" destId="{9B341E3D-5E00-4D93-BB98-0BDB261F7084}" srcOrd="1" destOrd="0" parTransId="{E302183D-518A-433D-B350-59D25C4CC677}" sibTransId="{93C2B1F4-7D24-457E-8EDF-84434FA05D85}"/>
    <dgm:cxn modelId="{6796A829-E9FE-43A6-B8DB-AA16CCD71B58}" type="presOf" srcId="{D3225CB6-5A4D-4870-BD26-34555AF301F3}" destId="{FC47B4F8-E933-4603-8AA8-1684776A61E7}" srcOrd="0" destOrd="2" presId="urn:microsoft.com/office/officeart/2005/8/layout/hList1"/>
    <dgm:cxn modelId="{0D8FF831-9810-446C-A231-675C3E6F150E}" type="presOf" srcId="{9B341E3D-5E00-4D93-BB98-0BDB261F7084}" destId="{4754E982-23FC-427F-B6B0-80F356D21C04}" srcOrd="0" destOrd="1" presId="urn:microsoft.com/office/officeart/2005/8/layout/hList1"/>
    <dgm:cxn modelId="{1590D839-892B-4F42-969F-9EC2CAA45E1A}" srcId="{2A7CF268-EF7D-40C7-AFA5-5DC22D281967}" destId="{7E593441-447E-49C1-ABFB-4160FF4BC778}" srcOrd="2" destOrd="0" parTransId="{ABB84D4F-2B4E-4AAC-9BFB-5B061C48C1A0}" sibTransId="{00D99045-C37D-4F08-8A6B-22E82CA69A6C}"/>
    <dgm:cxn modelId="{A59B4D3B-E31B-4413-A021-20A01384D1D2}" srcId="{7E593441-447E-49C1-ABFB-4160FF4BC778}" destId="{30D612B7-5095-45EE-90D2-1A9E82E7D3F8}" srcOrd="0" destOrd="0" parTransId="{A3633585-9EDC-438C-B54C-F1C0C3B42C15}" sibTransId="{33E2FD6A-A74F-43E1-9565-46171DBAECEE}"/>
    <dgm:cxn modelId="{CDBCCF3C-5185-40ED-8D4D-9DA181C3D3A2}" type="presOf" srcId="{14989960-69EA-4698-B447-95BB02AE424B}" destId="{4754E982-23FC-427F-B6B0-80F356D21C04}" srcOrd="0" destOrd="0" presId="urn:microsoft.com/office/officeart/2005/8/layout/hList1"/>
    <dgm:cxn modelId="{1E6E773F-D04A-4DAC-B146-7ED8E01E487B}" type="presOf" srcId="{2A7CF268-EF7D-40C7-AFA5-5DC22D281967}" destId="{414D0B97-D5B9-4B84-AADF-A6DE36F9A7D2}" srcOrd="0" destOrd="0" presId="urn:microsoft.com/office/officeart/2005/8/layout/hList1"/>
    <dgm:cxn modelId="{88FB8C45-464E-44FE-AC8E-B75A4E1B633F}" type="presOf" srcId="{43B27BA9-CA0F-462C-8AE2-15511C296B58}" destId="{4754E982-23FC-427F-B6B0-80F356D21C04}" srcOrd="0" destOrd="2" presId="urn:microsoft.com/office/officeart/2005/8/layout/hList1"/>
    <dgm:cxn modelId="{4825C94D-8F82-4C3B-852F-79553521BA90}" type="presOf" srcId="{042D7EEE-D0F0-44E0-819D-98425B840B19}" destId="{2CBD7CCA-3BB3-4954-BB70-5D5F66BC43B0}" srcOrd="0" destOrd="0" presId="urn:microsoft.com/office/officeart/2005/8/layout/hList1"/>
    <dgm:cxn modelId="{C0AE6073-966C-46BB-A283-0C7B52B43898}" type="presOf" srcId="{30D612B7-5095-45EE-90D2-1A9E82E7D3F8}" destId="{FC47B4F8-E933-4603-8AA8-1684776A61E7}" srcOrd="0" destOrd="0" presId="urn:microsoft.com/office/officeart/2005/8/layout/hList1"/>
    <dgm:cxn modelId="{37FAE153-1AA9-41E6-822D-2356D6BEBCD0}" srcId="{B5B8222A-7D05-412C-837F-E84CA03E0A92}" destId="{14989960-69EA-4698-B447-95BB02AE424B}" srcOrd="0" destOrd="0" parTransId="{BE22628A-9D6E-4BFA-BCAF-F3E03846B48E}" sibTransId="{7BDD0F8A-36AD-42B9-9690-77206CC66A54}"/>
    <dgm:cxn modelId="{E208AA79-7444-477C-8605-635B624582F0}" srcId="{ADA3AAA6-6F1E-4E92-83F0-D1D2BE0B07DC}" destId="{C8F8C5EB-16E5-4689-A85D-78C52CE3DD24}" srcOrd="0" destOrd="0" parTransId="{6C83057D-EF83-481D-B28F-1382C3CC78B6}" sibTransId="{6386B0F9-42F8-4A6F-996C-0BAFF05F11C9}"/>
    <dgm:cxn modelId="{B721465A-07C3-4439-8BF6-DDC61192DA4A}" srcId="{2A7CF268-EF7D-40C7-AFA5-5DC22D281967}" destId="{042D7EEE-D0F0-44E0-819D-98425B840B19}" srcOrd="0" destOrd="0" parTransId="{B8CE8CDC-2C36-406A-843A-92D3B84AC9D1}" sibTransId="{EB2814BA-F6DB-459F-A127-98C7EE972D89}"/>
    <dgm:cxn modelId="{5117DC7E-1615-4179-8F50-2F800A4310F9}" srcId="{042D7EEE-D0F0-44E0-819D-98425B840B19}" destId="{741A334D-6326-42B4-ADD1-8B321D3CF4DB}" srcOrd="0" destOrd="0" parTransId="{51A76551-1576-4537-94AE-EF1DE2E4C6AF}" sibTransId="{54B7924A-9313-48A7-8CD0-0851A45BA65A}"/>
    <dgm:cxn modelId="{E147CB88-3DCC-44B2-A582-797A33730F44}" srcId="{ADA3AAA6-6F1E-4E92-83F0-D1D2BE0B07DC}" destId="{30CA2E37-1CA5-4A6E-9DAC-749B66B91FF9}" srcOrd="1" destOrd="0" parTransId="{EE527895-870C-4602-BD33-C3EA414E4DCF}" sibTransId="{E69280FB-556F-45D0-BA11-6537699B473B}"/>
    <dgm:cxn modelId="{4310598A-2783-4EE1-A9C0-6CC3029CCE00}" srcId="{ADA3AAA6-6F1E-4E92-83F0-D1D2BE0B07DC}" destId="{40D46383-08A9-4790-BABA-888570BC25D1}" srcOrd="2" destOrd="0" parTransId="{1B822B66-BFE0-4B3A-A03A-38EB631E77F9}" sibTransId="{06A1AFCC-643A-425F-84AD-F72ACFA9F8A5}"/>
    <dgm:cxn modelId="{5923A08D-C0BA-4BB0-885B-71DBAB47F8AC}" srcId="{7E593441-447E-49C1-ABFB-4160FF4BC778}" destId="{03C78BA3-E464-4124-B68D-5D2C0B47B5EC}" srcOrd="1" destOrd="0" parTransId="{95AB8C96-92F2-42BA-A078-0FFC02917DC4}" sibTransId="{4E999FE0-36C6-4D34-B1AD-8E5B3547D62D}"/>
    <dgm:cxn modelId="{E04A6B96-9601-4FB5-AFED-1B508F66F13D}" srcId="{042D7EEE-D0F0-44E0-819D-98425B840B19}" destId="{4FB87A71-7111-4439-A236-D9FBAF7A51F7}" srcOrd="2" destOrd="0" parTransId="{E0A33854-F29C-4E9E-BF4A-CA1618863F5A}" sibTransId="{155089C7-6BDD-4049-B4A3-93ECC1D57C52}"/>
    <dgm:cxn modelId="{7619299D-2DF9-427E-A2D6-FC93D59DEF88}" type="presOf" srcId="{ADA3AAA6-6F1E-4E92-83F0-D1D2BE0B07DC}" destId="{7F78F221-BF73-4112-9C48-FB537B1568EE}" srcOrd="0" destOrd="0" presId="urn:microsoft.com/office/officeart/2005/8/layout/hList1"/>
    <dgm:cxn modelId="{5FA9A29E-CA49-4E4D-9B8D-234C2DE562E4}" type="presOf" srcId="{40D46383-08A9-4790-BABA-888570BC25D1}" destId="{7C3288CC-4367-471C-9FE8-AD252C521918}" srcOrd="0" destOrd="2" presId="urn:microsoft.com/office/officeart/2005/8/layout/hList1"/>
    <dgm:cxn modelId="{629BD8AE-234A-4154-A093-8BDF38733374}" srcId="{7E593441-447E-49C1-ABFB-4160FF4BC778}" destId="{D3225CB6-5A4D-4870-BD26-34555AF301F3}" srcOrd="2" destOrd="0" parTransId="{5DDF771D-133E-4462-B40F-65F486ECB21B}" sibTransId="{C374E632-2EFA-494E-9CA9-2495104AE017}"/>
    <dgm:cxn modelId="{412826B6-9388-450E-974D-A069B3B5427E}" type="presOf" srcId="{741A334D-6326-42B4-ADD1-8B321D3CF4DB}" destId="{F3383CA3-6F5E-47B5-9D3F-991A400AF6D3}" srcOrd="0" destOrd="0" presId="urn:microsoft.com/office/officeart/2005/8/layout/hList1"/>
    <dgm:cxn modelId="{6DB074CC-E52B-486C-884E-44E23592878C}" type="presOf" srcId="{9A660FBC-4E79-4FB5-ABF5-AF9172AFADD8}" destId="{F3383CA3-6F5E-47B5-9D3F-991A400AF6D3}" srcOrd="0" destOrd="1" presId="urn:microsoft.com/office/officeart/2005/8/layout/hList1"/>
    <dgm:cxn modelId="{B6E634D1-86A4-4640-B436-9961D5A77871}" srcId="{B5B8222A-7D05-412C-837F-E84CA03E0A92}" destId="{43B27BA9-CA0F-462C-8AE2-15511C296B58}" srcOrd="2" destOrd="0" parTransId="{33D87267-EE38-40D4-BB6E-53EB110BE621}" sibTransId="{D0CE35D9-D2F0-4CEF-B4BC-0DA9AAB18FA9}"/>
    <dgm:cxn modelId="{30CD77DA-C3E5-4A95-A9BC-28DF3D3EDDFE}" type="presOf" srcId="{4FB87A71-7111-4439-A236-D9FBAF7A51F7}" destId="{F3383CA3-6F5E-47B5-9D3F-991A400AF6D3}" srcOrd="0" destOrd="2" presId="urn:microsoft.com/office/officeart/2005/8/layout/hList1"/>
    <dgm:cxn modelId="{4F4516E8-3765-4941-BE08-898F5F6F3272}" srcId="{2A7CF268-EF7D-40C7-AFA5-5DC22D281967}" destId="{ADA3AAA6-6F1E-4E92-83F0-D1D2BE0B07DC}" srcOrd="1" destOrd="0" parTransId="{F75A7F04-7D10-43E7-B07F-495315F4C206}" sibTransId="{E96E2B7C-FD06-4A8C-BAB8-9F831353D397}"/>
    <dgm:cxn modelId="{346AA9EB-AD3C-4278-AE04-15B7098543CB}" type="presOf" srcId="{7E593441-447E-49C1-ABFB-4160FF4BC778}" destId="{B8AA1FDB-6540-4282-A7C1-6A6D71283F67}" srcOrd="0" destOrd="0" presId="urn:microsoft.com/office/officeart/2005/8/layout/hList1"/>
    <dgm:cxn modelId="{A70572F4-FC56-4103-B33C-F202741E4577}" type="presOf" srcId="{30CA2E37-1CA5-4A6E-9DAC-749B66B91FF9}" destId="{7C3288CC-4367-471C-9FE8-AD252C521918}" srcOrd="0" destOrd="1" presId="urn:microsoft.com/office/officeart/2005/8/layout/hList1"/>
    <dgm:cxn modelId="{CB4FC5F5-9295-428A-AE01-81DA88FCF9EC}" srcId="{2A7CF268-EF7D-40C7-AFA5-5DC22D281967}" destId="{B5B8222A-7D05-412C-837F-E84CA03E0A92}" srcOrd="3" destOrd="0" parTransId="{DBB2762E-9437-4828-963D-1A48C9FFD58D}" sibTransId="{1D09F4B3-112F-425F-848A-B36641C1E24C}"/>
    <dgm:cxn modelId="{172819F6-D55B-4C49-BC14-85E55552F607}" type="presOf" srcId="{03C78BA3-E464-4124-B68D-5D2C0B47B5EC}" destId="{FC47B4F8-E933-4603-8AA8-1684776A61E7}" srcOrd="0" destOrd="1" presId="urn:microsoft.com/office/officeart/2005/8/layout/hList1"/>
    <dgm:cxn modelId="{8FC56C7E-512A-40A1-9B47-86B8BB7E1808}" type="presParOf" srcId="{414D0B97-D5B9-4B84-AADF-A6DE36F9A7D2}" destId="{8F78FA7A-7B3D-4828-AF03-7687A33D3231}" srcOrd="0" destOrd="0" presId="urn:microsoft.com/office/officeart/2005/8/layout/hList1"/>
    <dgm:cxn modelId="{7E390727-A657-472A-88BB-128F8D7D016D}" type="presParOf" srcId="{8F78FA7A-7B3D-4828-AF03-7687A33D3231}" destId="{2CBD7CCA-3BB3-4954-BB70-5D5F66BC43B0}" srcOrd="0" destOrd="0" presId="urn:microsoft.com/office/officeart/2005/8/layout/hList1"/>
    <dgm:cxn modelId="{D6630B78-708D-40E9-94F4-C245F1DB15AC}" type="presParOf" srcId="{8F78FA7A-7B3D-4828-AF03-7687A33D3231}" destId="{F3383CA3-6F5E-47B5-9D3F-991A400AF6D3}" srcOrd="1" destOrd="0" presId="urn:microsoft.com/office/officeart/2005/8/layout/hList1"/>
    <dgm:cxn modelId="{9D56D125-AC9E-4CB6-B93B-2DFA057DB52A}" type="presParOf" srcId="{414D0B97-D5B9-4B84-AADF-A6DE36F9A7D2}" destId="{E888CD37-9797-4589-8ECC-088A59D19C15}" srcOrd="1" destOrd="0" presId="urn:microsoft.com/office/officeart/2005/8/layout/hList1"/>
    <dgm:cxn modelId="{CABF1653-1A20-40B6-B185-3A3DAF98BEA6}" type="presParOf" srcId="{414D0B97-D5B9-4B84-AADF-A6DE36F9A7D2}" destId="{A7432C09-8665-41C0-88C3-3249FA59906C}" srcOrd="2" destOrd="0" presId="urn:microsoft.com/office/officeart/2005/8/layout/hList1"/>
    <dgm:cxn modelId="{0D559CFB-BD57-4126-9076-3CCA4C77E89B}" type="presParOf" srcId="{A7432C09-8665-41C0-88C3-3249FA59906C}" destId="{7F78F221-BF73-4112-9C48-FB537B1568EE}" srcOrd="0" destOrd="0" presId="urn:microsoft.com/office/officeart/2005/8/layout/hList1"/>
    <dgm:cxn modelId="{268D67BD-68AF-40A3-8A18-19B56F5F5802}" type="presParOf" srcId="{A7432C09-8665-41C0-88C3-3249FA59906C}" destId="{7C3288CC-4367-471C-9FE8-AD252C521918}" srcOrd="1" destOrd="0" presId="urn:microsoft.com/office/officeart/2005/8/layout/hList1"/>
    <dgm:cxn modelId="{25C20E9B-9FC3-4926-B585-63E30E8CBFF9}" type="presParOf" srcId="{414D0B97-D5B9-4B84-AADF-A6DE36F9A7D2}" destId="{54A3FC0A-90C6-4746-B0CB-959A93C97E41}" srcOrd="3" destOrd="0" presId="urn:microsoft.com/office/officeart/2005/8/layout/hList1"/>
    <dgm:cxn modelId="{2E22C2E2-4E51-4682-BA46-5412EF2881F6}" type="presParOf" srcId="{414D0B97-D5B9-4B84-AADF-A6DE36F9A7D2}" destId="{0DCBFA21-63F8-4985-9835-6D3D9A31660F}" srcOrd="4" destOrd="0" presId="urn:microsoft.com/office/officeart/2005/8/layout/hList1"/>
    <dgm:cxn modelId="{91F2D14E-6916-4CF4-974A-9B14D1804CCA}" type="presParOf" srcId="{0DCBFA21-63F8-4985-9835-6D3D9A31660F}" destId="{B8AA1FDB-6540-4282-A7C1-6A6D71283F67}" srcOrd="0" destOrd="0" presId="urn:microsoft.com/office/officeart/2005/8/layout/hList1"/>
    <dgm:cxn modelId="{33999AC3-02FA-4038-98A3-2F0152CF7A57}" type="presParOf" srcId="{0DCBFA21-63F8-4985-9835-6D3D9A31660F}" destId="{FC47B4F8-E933-4603-8AA8-1684776A61E7}" srcOrd="1" destOrd="0" presId="urn:microsoft.com/office/officeart/2005/8/layout/hList1"/>
    <dgm:cxn modelId="{A3F19C9B-45D8-4DF1-91B7-C3217E0EBFEF}" type="presParOf" srcId="{414D0B97-D5B9-4B84-AADF-A6DE36F9A7D2}" destId="{0C75A054-5E4D-4980-9938-24E948E4E1E0}" srcOrd="5" destOrd="0" presId="urn:microsoft.com/office/officeart/2005/8/layout/hList1"/>
    <dgm:cxn modelId="{4CCC2BEC-A280-40C1-B3BA-AC01DFCC0DA7}" type="presParOf" srcId="{414D0B97-D5B9-4B84-AADF-A6DE36F9A7D2}" destId="{9745971A-B4C9-43FB-9BFA-C39BCE318EAA}" srcOrd="6" destOrd="0" presId="urn:microsoft.com/office/officeart/2005/8/layout/hList1"/>
    <dgm:cxn modelId="{763F7808-8E7D-4D52-B385-3924CE9A40CE}" type="presParOf" srcId="{9745971A-B4C9-43FB-9BFA-C39BCE318EAA}" destId="{E7D5F5BC-4F52-4B61-A494-99617534F5CA}" srcOrd="0" destOrd="0" presId="urn:microsoft.com/office/officeart/2005/8/layout/hList1"/>
    <dgm:cxn modelId="{96F1A5D0-9896-4264-82DB-A211B009EA60}" type="presParOf" srcId="{9745971A-B4C9-43FB-9BFA-C39BCE318EAA}" destId="{4754E982-23FC-427F-B6B0-80F356D21C0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3672931-977B-473F-93BA-CACC94B0620B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C504DE2-DCD9-4B8D-8C00-801F0B08AFBF}">
      <dgm:prSet phldrT="[Teksti]" phldr="0"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fi-FI" sz="2400" dirty="0">
              <a:latin typeface="Ivar Headline"/>
            </a:rPr>
            <a:t> </a:t>
          </a:r>
          <a:r>
            <a:rPr lang="fi-FI" sz="1600" dirty="0">
              <a:latin typeface="Ivar Headline"/>
            </a:rPr>
            <a:t>Strateginen taso</a:t>
          </a:r>
        </a:p>
        <a:p>
          <a:pPr rtl="0"/>
          <a:r>
            <a:rPr lang="fi-FI" sz="1600" dirty="0">
              <a:latin typeface="Ivar Headline"/>
            </a:rPr>
            <a:t>- suunta</a:t>
          </a:r>
          <a:endParaRPr lang="fi-FI" sz="1600" dirty="0"/>
        </a:p>
      </dgm:t>
    </dgm:pt>
    <dgm:pt modelId="{9E4D9AFE-EC4E-46E0-A1D4-02EC4520CB82}" type="parTrans" cxnId="{9D41382D-5D9D-422F-B0D8-DD75EB36A9B0}">
      <dgm:prSet/>
      <dgm:spPr/>
      <dgm:t>
        <a:bodyPr/>
        <a:lstStyle/>
        <a:p>
          <a:endParaRPr lang="en-GB"/>
        </a:p>
      </dgm:t>
    </dgm:pt>
    <dgm:pt modelId="{AA93F2AE-9FB1-4AE8-8589-24026F5351FC}" type="sibTrans" cxnId="{9D41382D-5D9D-422F-B0D8-DD75EB36A9B0}">
      <dgm:prSet/>
      <dgm:spPr/>
      <dgm:t>
        <a:bodyPr/>
        <a:lstStyle/>
        <a:p>
          <a:endParaRPr lang="en-GB"/>
        </a:p>
      </dgm:t>
    </dgm:pt>
    <dgm:pt modelId="{9A20DC10-355C-40B5-8F69-FCE227277071}">
      <dgm:prSet phldrT="[Teksti]" phldr="0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i-FI" sz="1600">
              <a:latin typeface="Ivar Headline"/>
            </a:rPr>
            <a:t>Taktinen taso</a:t>
          </a:r>
        </a:p>
        <a:p>
          <a:r>
            <a:rPr lang="fi-FI" sz="1600"/>
            <a:t>- jalkautus</a:t>
          </a:r>
        </a:p>
      </dgm:t>
    </dgm:pt>
    <dgm:pt modelId="{4B0EAA62-6A82-4B9D-9F3B-BEFC4BF7D755}" type="parTrans" cxnId="{96DE11DF-D5A7-4EA4-8A2E-E896CE194925}">
      <dgm:prSet/>
      <dgm:spPr/>
      <dgm:t>
        <a:bodyPr/>
        <a:lstStyle/>
        <a:p>
          <a:endParaRPr lang="en-GB"/>
        </a:p>
      </dgm:t>
    </dgm:pt>
    <dgm:pt modelId="{C2C03E23-050B-47C7-9C56-128AEDA06235}" type="sibTrans" cxnId="{96DE11DF-D5A7-4EA4-8A2E-E896CE194925}">
      <dgm:prSet/>
      <dgm:spPr/>
      <dgm:t>
        <a:bodyPr/>
        <a:lstStyle/>
        <a:p>
          <a:endParaRPr lang="en-GB"/>
        </a:p>
      </dgm:t>
    </dgm:pt>
    <dgm:pt modelId="{A08C7CD2-3BE0-45AC-BB2D-CB9EC85D9C24}">
      <dgm:prSet phldrT="[Teksti]" phldr="0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i-FI" sz="1600">
              <a:latin typeface="Ivar Headline"/>
            </a:rPr>
            <a:t>Operatiivinen taso</a:t>
          </a:r>
        </a:p>
        <a:p>
          <a:r>
            <a:rPr lang="fi-FI" sz="1600">
              <a:latin typeface="Ivar Headline"/>
            </a:rPr>
            <a:t>- tuotokset</a:t>
          </a:r>
          <a:endParaRPr lang="fi-FI" sz="1600"/>
        </a:p>
      </dgm:t>
    </dgm:pt>
    <dgm:pt modelId="{D6DCC214-19D8-4812-AA3D-430A85149C62}" type="parTrans" cxnId="{CC75DB8C-5174-4321-B660-ED1302ACD70B}">
      <dgm:prSet/>
      <dgm:spPr/>
      <dgm:t>
        <a:bodyPr/>
        <a:lstStyle/>
        <a:p>
          <a:endParaRPr lang="en-GB"/>
        </a:p>
      </dgm:t>
    </dgm:pt>
    <dgm:pt modelId="{968BB756-55B0-486C-A657-845091BC6F58}" type="sibTrans" cxnId="{CC75DB8C-5174-4321-B660-ED1302ACD70B}">
      <dgm:prSet/>
      <dgm:spPr/>
      <dgm:t>
        <a:bodyPr/>
        <a:lstStyle/>
        <a:p>
          <a:endParaRPr lang="en-GB"/>
        </a:p>
      </dgm:t>
    </dgm:pt>
    <dgm:pt modelId="{7A404CC2-6090-4201-80BD-69CCF057234B}" type="pres">
      <dgm:prSet presAssocID="{E3672931-977B-473F-93BA-CACC94B0620B}" presName="Name0" presStyleCnt="0">
        <dgm:presLayoutVars>
          <dgm:dir/>
          <dgm:animLvl val="lvl"/>
          <dgm:resizeHandles val="exact"/>
        </dgm:presLayoutVars>
      </dgm:prSet>
      <dgm:spPr/>
    </dgm:pt>
    <dgm:pt modelId="{19E3F669-1F30-4A36-8938-789DD046BF71}" type="pres">
      <dgm:prSet presAssocID="{EC504DE2-DCD9-4B8D-8C00-801F0B08AFBF}" presName="Name8" presStyleCnt="0"/>
      <dgm:spPr/>
    </dgm:pt>
    <dgm:pt modelId="{BE33912D-3F2D-4832-8AA3-58A300721C09}" type="pres">
      <dgm:prSet presAssocID="{EC504DE2-DCD9-4B8D-8C00-801F0B08AFBF}" presName="level" presStyleLbl="node1" presStyleIdx="0" presStyleCnt="3">
        <dgm:presLayoutVars>
          <dgm:chMax val="1"/>
          <dgm:bulletEnabled val="1"/>
        </dgm:presLayoutVars>
      </dgm:prSet>
      <dgm:spPr/>
    </dgm:pt>
    <dgm:pt modelId="{EDD9F9EB-90EE-48F3-AA31-D00E1CD23C2E}" type="pres">
      <dgm:prSet presAssocID="{EC504DE2-DCD9-4B8D-8C00-801F0B08AFB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8E82491-A83C-4105-911C-41018CADD649}" type="pres">
      <dgm:prSet presAssocID="{9A20DC10-355C-40B5-8F69-FCE227277071}" presName="Name8" presStyleCnt="0"/>
      <dgm:spPr/>
    </dgm:pt>
    <dgm:pt modelId="{8D99E4E7-A4E0-47B0-BE77-4BD48BE4D1E0}" type="pres">
      <dgm:prSet presAssocID="{9A20DC10-355C-40B5-8F69-FCE2272770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D3757572-44F9-468B-8623-2D160B8D7D98}" type="pres">
      <dgm:prSet presAssocID="{9A20DC10-355C-40B5-8F69-FCE2272770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237E376-A0A9-43BF-A4F4-C7E2BBF0C1AA}" type="pres">
      <dgm:prSet presAssocID="{A08C7CD2-3BE0-45AC-BB2D-CB9EC85D9C24}" presName="Name8" presStyleCnt="0"/>
      <dgm:spPr/>
    </dgm:pt>
    <dgm:pt modelId="{325E595A-8020-4EA2-9D7F-B749BE40E2B7}" type="pres">
      <dgm:prSet presAssocID="{A08C7CD2-3BE0-45AC-BB2D-CB9EC85D9C24}" presName="level" presStyleLbl="node1" presStyleIdx="2" presStyleCnt="3">
        <dgm:presLayoutVars>
          <dgm:chMax val="1"/>
          <dgm:bulletEnabled val="1"/>
        </dgm:presLayoutVars>
      </dgm:prSet>
      <dgm:spPr/>
    </dgm:pt>
    <dgm:pt modelId="{9119C13E-1CA3-4291-BB44-83AFEA16BA3F}" type="pres">
      <dgm:prSet presAssocID="{A08C7CD2-3BE0-45AC-BB2D-CB9EC85D9C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4C5A719-8EC7-404B-B10E-591B4AFA087A}" type="presOf" srcId="{EC504DE2-DCD9-4B8D-8C00-801F0B08AFBF}" destId="{EDD9F9EB-90EE-48F3-AA31-D00E1CD23C2E}" srcOrd="1" destOrd="0" presId="urn:microsoft.com/office/officeart/2005/8/layout/pyramid1"/>
    <dgm:cxn modelId="{9D41382D-5D9D-422F-B0D8-DD75EB36A9B0}" srcId="{E3672931-977B-473F-93BA-CACC94B0620B}" destId="{EC504DE2-DCD9-4B8D-8C00-801F0B08AFBF}" srcOrd="0" destOrd="0" parTransId="{9E4D9AFE-EC4E-46E0-A1D4-02EC4520CB82}" sibTransId="{AA93F2AE-9FB1-4AE8-8589-24026F5351FC}"/>
    <dgm:cxn modelId="{1314FD74-4D6D-41EA-AB61-3C56673630EC}" type="presOf" srcId="{EC504DE2-DCD9-4B8D-8C00-801F0B08AFBF}" destId="{BE33912D-3F2D-4832-8AA3-58A300721C09}" srcOrd="0" destOrd="0" presId="urn:microsoft.com/office/officeart/2005/8/layout/pyramid1"/>
    <dgm:cxn modelId="{CC75DB8C-5174-4321-B660-ED1302ACD70B}" srcId="{E3672931-977B-473F-93BA-CACC94B0620B}" destId="{A08C7CD2-3BE0-45AC-BB2D-CB9EC85D9C24}" srcOrd="2" destOrd="0" parTransId="{D6DCC214-19D8-4812-AA3D-430A85149C62}" sibTransId="{968BB756-55B0-486C-A657-845091BC6F58}"/>
    <dgm:cxn modelId="{D1F82C8D-6FE7-41BC-A99C-FE36DDA4CB3A}" type="presOf" srcId="{A08C7CD2-3BE0-45AC-BB2D-CB9EC85D9C24}" destId="{9119C13E-1CA3-4291-BB44-83AFEA16BA3F}" srcOrd="1" destOrd="0" presId="urn:microsoft.com/office/officeart/2005/8/layout/pyramid1"/>
    <dgm:cxn modelId="{98F9CC8D-4A1E-45D4-AC49-7A33A58FC5F6}" type="presOf" srcId="{A08C7CD2-3BE0-45AC-BB2D-CB9EC85D9C24}" destId="{325E595A-8020-4EA2-9D7F-B749BE40E2B7}" srcOrd="0" destOrd="0" presId="urn:microsoft.com/office/officeart/2005/8/layout/pyramid1"/>
    <dgm:cxn modelId="{1555E49B-CE10-4989-A12C-3A370CAAE26A}" type="presOf" srcId="{9A20DC10-355C-40B5-8F69-FCE227277071}" destId="{8D99E4E7-A4E0-47B0-BE77-4BD48BE4D1E0}" srcOrd="0" destOrd="0" presId="urn:microsoft.com/office/officeart/2005/8/layout/pyramid1"/>
    <dgm:cxn modelId="{006047B5-D1D4-4F6B-B299-967769BFC9CB}" type="presOf" srcId="{E3672931-977B-473F-93BA-CACC94B0620B}" destId="{7A404CC2-6090-4201-80BD-69CCF057234B}" srcOrd="0" destOrd="0" presId="urn:microsoft.com/office/officeart/2005/8/layout/pyramid1"/>
    <dgm:cxn modelId="{96DE11DF-D5A7-4EA4-8A2E-E896CE194925}" srcId="{E3672931-977B-473F-93BA-CACC94B0620B}" destId="{9A20DC10-355C-40B5-8F69-FCE227277071}" srcOrd="1" destOrd="0" parTransId="{4B0EAA62-6A82-4B9D-9F3B-BEFC4BF7D755}" sibTransId="{C2C03E23-050B-47C7-9C56-128AEDA06235}"/>
    <dgm:cxn modelId="{6E6BF4F3-BC44-4C50-A07D-2EB888B924C6}" type="presOf" srcId="{9A20DC10-355C-40B5-8F69-FCE227277071}" destId="{D3757572-44F9-468B-8623-2D160B8D7D98}" srcOrd="1" destOrd="0" presId="urn:microsoft.com/office/officeart/2005/8/layout/pyramid1"/>
    <dgm:cxn modelId="{50F7EE68-F40C-4B43-B73E-E988D41B44C4}" type="presParOf" srcId="{7A404CC2-6090-4201-80BD-69CCF057234B}" destId="{19E3F669-1F30-4A36-8938-789DD046BF71}" srcOrd="0" destOrd="0" presId="urn:microsoft.com/office/officeart/2005/8/layout/pyramid1"/>
    <dgm:cxn modelId="{BED514EE-4503-48CD-88C7-F0B754CC4299}" type="presParOf" srcId="{19E3F669-1F30-4A36-8938-789DD046BF71}" destId="{BE33912D-3F2D-4832-8AA3-58A300721C09}" srcOrd="0" destOrd="0" presId="urn:microsoft.com/office/officeart/2005/8/layout/pyramid1"/>
    <dgm:cxn modelId="{3208F5AB-2DC3-4CC0-A753-00EDEA5FBC63}" type="presParOf" srcId="{19E3F669-1F30-4A36-8938-789DD046BF71}" destId="{EDD9F9EB-90EE-48F3-AA31-D00E1CD23C2E}" srcOrd="1" destOrd="0" presId="urn:microsoft.com/office/officeart/2005/8/layout/pyramid1"/>
    <dgm:cxn modelId="{49775D73-DEF5-4386-BDDC-C49EC79763C2}" type="presParOf" srcId="{7A404CC2-6090-4201-80BD-69CCF057234B}" destId="{38E82491-A83C-4105-911C-41018CADD649}" srcOrd="1" destOrd="0" presId="urn:microsoft.com/office/officeart/2005/8/layout/pyramid1"/>
    <dgm:cxn modelId="{F2DFE228-88CC-4BEA-9980-FA02AF40684A}" type="presParOf" srcId="{38E82491-A83C-4105-911C-41018CADD649}" destId="{8D99E4E7-A4E0-47B0-BE77-4BD48BE4D1E0}" srcOrd="0" destOrd="0" presId="urn:microsoft.com/office/officeart/2005/8/layout/pyramid1"/>
    <dgm:cxn modelId="{CB133627-63F1-4F4A-94D1-FD13F0DA7761}" type="presParOf" srcId="{38E82491-A83C-4105-911C-41018CADD649}" destId="{D3757572-44F9-468B-8623-2D160B8D7D98}" srcOrd="1" destOrd="0" presId="urn:microsoft.com/office/officeart/2005/8/layout/pyramid1"/>
    <dgm:cxn modelId="{7B3199CD-536E-4F2B-89B9-019332EBA53B}" type="presParOf" srcId="{7A404CC2-6090-4201-80BD-69CCF057234B}" destId="{2237E376-A0A9-43BF-A4F4-C7E2BBF0C1AA}" srcOrd="2" destOrd="0" presId="urn:microsoft.com/office/officeart/2005/8/layout/pyramid1"/>
    <dgm:cxn modelId="{C812BCFE-2B43-4F75-8858-56CB67918FCF}" type="presParOf" srcId="{2237E376-A0A9-43BF-A4F4-C7E2BBF0C1AA}" destId="{325E595A-8020-4EA2-9D7F-B749BE40E2B7}" srcOrd="0" destOrd="0" presId="urn:microsoft.com/office/officeart/2005/8/layout/pyramid1"/>
    <dgm:cxn modelId="{816DE97C-817D-4D13-ACAD-AA4D9699F1D7}" type="presParOf" srcId="{2237E376-A0A9-43BF-A4F4-C7E2BBF0C1AA}" destId="{9119C13E-1CA3-4291-BB44-83AFEA16BA3F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8E2646-3F98-4754-85E5-8604745334D7}">
      <dsp:nvSpPr>
        <dsp:cNvPr id="0" name=""/>
        <dsp:cNvSpPr/>
      </dsp:nvSpPr>
      <dsp:spPr>
        <a:xfrm>
          <a:off x="4208" y="194460"/>
          <a:ext cx="2269598" cy="594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>
              <a:latin typeface="Lato" panose="020F0502020204030203" pitchFamily="34" charset="0"/>
            </a:rPr>
            <a:t>Orientoiva työpaja, 2.11.2020 &amp; haastattelut</a:t>
          </a:r>
        </a:p>
      </dsp:txBody>
      <dsp:txXfrm>
        <a:off x="301208" y="194460"/>
        <a:ext cx="1675598" cy="594000"/>
      </dsp:txXfrm>
    </dsp:sp>
    <dsp:sp modelId="{322A30F6-AEB2-4006-85AA-F5C8BD43E401}">
      <dsp:nvSpPr>
        <dsp:cNvPr id="0" name=""/>
        <dsp:cNvSpPr/>
      </dsp:nvSpPr>
      <dsp:spPr>
        <a:xfrm>
          <a:off x="4208" y="862710"/>
          <a:ext cx="1815678" cy="24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Työn tavoitteet ja toteutussuunnitelm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Johtoryhmän jäsenten ajatukset ja tavoitteet </a:t>
          </a:r>
          <a:r>
            <a:rPr lang="fi-FI" sz="1100" kern="1200" err="1">
              <a:latin typeface="Lato" panose="020F0502020204030203" pitchFamily="34" charset="0"/>
            </a:rPr>
            <a:t>digitalisaatiolle</a:t>
          </a:r>
          <a:r>
            <a:rPr lang="fi-FI" sz="1100" kern="1200">
              <a:latin typeface="Lato" panose="020F0502020204030203" pitchFamily="34" charset="0"/>
            </a:rPr>
            <a:t> ja sen johtamiselle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Keskustelu organisaation valmiuksist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Johtoryhmän jäsenten haastatteluiden sopimisen käytännöt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10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1" kern="1200">
              <a:solidFill>
                <a:srgbClr val="0089CF"/>
              </a:solidFill>
              <a:latin typeface="Lato" panose="020F0502020204030203" pitchFamily="34" charset="0"/>
            </a:rPr>
            <a:t>Tuotos: Yhteenveto johtoryhmän näkemyksistä ja tavoitteista </a:t>
          </a:r>
          <a:r>
            <a:rPr lang="fi-FI" sz="1100" i="1" kern="1200" err="1">
              <a:solidFill>
                <a:srgbClr val="0089CF"/>
              </a:solidFill>
              <a:latin typeface="Lato" panose="020F0502020204030203" pitchFamily="34" charset="0"/>
            </a:rPr>
            <a:t>digitalisaatiolle</a:t>
          </a:r>
          <a:endParaRPr lang="fi-FI" sz="1100" i="1" kern="1200">
            <a:solidFill>
              <a:srgbClr val="0089CF"/>
            </a:solidFill>
            <a:latin typeface="Lato" panose="020F0502020204030203" pitchFamily="34" charset="0"/>
          </a:endParaRPr>
        </a:p>
      </dsp:txBody>
      <dsp:txXfrm>
        <a:off x="4208" y="862710"/>
        <a:ext cx="1815678" cy="2425500"/>
      </dsp:txXfrm>
    </dsp:sp>
    <dsp:sp modelId="{2D9A3538-BABD-47BA-8131-41D110A5C4B1}">
      <dsp:nvSpPr>
        <dsp:cNvPr id="0" name=""/>
        <dsp:cNvSpPr/>
      </dsp:nvSpPr>
      <dsp:spPr>
        <a:xfrm>
          <a:off x="2057807" y="194460"/>
          <a:ext cx="2269598" cy="594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>
              <a:latin typeface="Lato" panose="020F0502020204030203" pitchFamily="34" charset="0"/>
            </a:rPr>
            <a:t>Työpaja 1, 30.11.2020</a:t>
          </a:r>
        </a:p>
      </dsp:txBody>
      <dsp:txXfrm>
        <a:off x="2354807" y="194460"/>
        <a:ext cx="1675598" cy="594000"/>
      </dsp:txXfrm>
    </dsp:sp>
    <dsp:sp modelId="{DAE5E54F-0385-4BB8-8434-8244DE2E0164}">
      <dsp:nvSpPr>
        <dsp:cNvPr id="0" name=""/>
        <dsp:cNvSpPr/>
      </dsp:nvSpPr>
      <dsp:spPr>
        <a:xfrm>
          <a:off x="2057807" y="862710"/>
          <a:ext cx="1815678" cy="24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b="0" kern="1200">
              <a:latin typeface="Lato" panose="020F0502020204030203" pitchFamily="34" charset="0"/>
            </a:rPr>
            <a:t>Johtoryhmän strategiset linjaukset </a:t>
          </a:r>
          <a:r>
            <a:rPr lang="fi-FI" sz="1100" b="0" kern="1200" err="1">
              <a:latin typeface="Lato" panose="020F0502020204030203" pitchFamily="34" charset="0"/>
            </a:rPr>
            <a:t>Ylä</a:t>
          </a:r>
          <a:r>
            <a:rPr lang="fi-FI" sz="1100" b="0" kern="1200">
              <a:latin typeface="Lato" panose="020F0502020204030203" pitchFamily="34" charset="0"/>
            </a:rPr>
            <a:t>-Savon </a:t>
          </a:r>
          <a:r>
            <a:rPr lang="fi-FI" sz="1100" b="0" kern="1200" err="1">
              <a:latin typeface="Lato" panose="020F0502020204030203" pitchFamily="34" charset="0"/>
            </a:rPr>
            <a:t>soten</a:t>
          </a:r>
          <a:r>
            <a:rPr lang="fi-FI" sz="1100" b="0" kern="1200">
              <a:latin typeface="Lato" panose="020F0502020204030203" pitchFamily="34" charset="0"/>
            </a:rPr>
            <a:t> </a:t>
          </a:r>
          <a:r>
            <a:rPr lang="fi-FI" sz="1100" b="0" kern="1200" err="1">
              <a:latin typeface="Lato" panose="020F0502020204030203" pitchFamily="34" charset="0"/>
            </a:rPr>
            <a:t>digitalisaatiolle</a:t>
          </a:r>
          <a:endParaRPr lang="fi-FI" sz="1100" b="0" kern="1200">
            <a:latin typeface="Lato" panose="020F0502020204030203" pitchFamily="34" charset="0"/>
          </a:endParaRP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Yhteenveto organisaation nykytilasta ja valmiuksista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Nykytilan käsittely ja tärkeimmät teemojen valint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10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1" kern="1200">
              <a:solidFill>
                <a:srgbClr val="0089CF"/>
              </a:solidFill>
              <a:latin typeface="Lato" panose="020F0502020204030203" pitchFamily="34" charset="0"/>
            </a:rPr>
            <a:t>Tuotos: Digitalisaatiota ja sen johtamista tukevat konkreettiset linjaukset</a:t>
          </a:r>
          <a:endParaRPr lang="fi-FI" sz="1100" kern="1200">
            <a:solidFill>
              <a:srgbClr val="0089CF"/>
            </a:solidFill>
            <a:latin typeface="Lato" panose="020F0502020204030203" pitchFamily="34" charset="0"/>
          </a:endParaRPr>
        </a:p>
      </dsp:txBody>
      <dsp:txXfrm>
        <a:off x="2057807" y="862710"/>
        <a:ext cx="1815678" cy="2425500"/>
      </dsp:txXfrm>
    </dsp:sp>
    <dsp:sp modelId="{5D50BB4D-C56E-4875-BF76-8336128782A3}">
      <dsp:nvSpPr>
        <dsp:cNvPr id="0" name=""/>
        <dsp:cNvSpPr/>
      </dsp:nvSpPr>
      <dsp:spPr>
        <a:xfrm>
          <a:off x="4111405" y="194460"/>
          <a:ext cx="2269598" cy="594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>
              <a:latin typeface="Lato" panose="020F0502020204030203" pitchFamily="34" charset="0"/>
            </a:rPr>
            <a:t>Työpaja 2, 1.2.2021</a:t>
          </a:r>
        </a:p>
      </dsp:txBody>
      <dsp:txXfrm>
        <a:off x="4408405" y="194460"/>
        <a:ext cx="1675598" cy="594000"/>
      </dsp:txXfrm>
    </dsp:sp>
    <dsp:sp modelId="{FE794F0F-ED3A-4A3E-BD5C-A5CAAF54700E}">
      <dsp:nvSpPr>
        <dsp:cNvPr id="0" name=""/>
        <dsp:cNvSpPr/>
      </dsp:nvSpPr>
      <dsp:spPr>
        <a:xfrm>
          <a:off x="4111405" y="862710"/>
          <a:ext cx="1815678" cy="24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Yhteenveto </a:t>
          </a:r>
          <a:r>
            <a:rPr lang="en-US" sz="1100" kern="1200" err="1">
              <a:latin typeface="Lato" panose="020F0502020204030203" pitchFamily="34" charset="0"/>
            </a:rPr>
            <a:t>edellisen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työpajan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tuloksista</a:t>
          </a:r>
          <a:endParaRPr lang="fi-FI" sz="110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>
              <a:latin typeface="Lato" panose="020F0502020204030203" pitchFamily="34" charset="0"/>
            </a:rPr>
            <a:t>Digitalisaation </a:t>
          </a:r>
          <a:r>
            <a:rPr lang="en-US" sz="1100" kern="1200" err="1">
              <a:latin typeface="Lato" panose="020F0502020204030203" pitchFamily="34" charset="0"/>
            </a:rPr>
            <a:t>kehittämisen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strategiset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linjaukset</a:t>
          </a:r>
          <a:endParaRPr lang="fi-FI" sz="1100" kern="1200">
            <a:latin typeface="Lato" panose="020F0502020204030203" pitchFamily="34" charset="0"/>
          </a:endParaRP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Linjausluonnosten läpikäynti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>
              <a:latin typeface="Lato" panose="020F0502020204030203" pitchFamily="34" charset="0"/>
            </a:rPr>
            <a:t>Digitalisaation </a:t>
          </a:r>
          <a:r>
            <a:rPr lang="en-US" sz="1100" kern="1200" err="1">
              <a:latin typeface="Lato" panose="020F0502020204030203" pitchFamily="34" charset="0"/>
            </a:rPr>
            <a:t>johtamisen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toimintamalli</a:t>
          </a:r>
          <a:endParaRPr lang="fi-FI" sz="1100" kern="1200">
            <a:latin typeface="Lato" panose="020F0502020204030203" pitchFamily="34" charset="0"/>
          </a:endParaRP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err="1">
              <a:latin typeface="Lato" panose="020F0502020204030203" pitchFamily="34" charset="0"/>
            </a:rPr>
            <a:t>Luonnoksen</a:t>
          </a:r>
          <a:r>
            <a:rPr lang="en-US" sz="1100" kern="1200">
              <a:latin typeface="Lato" panose="020F0502020204030203" pitchFamily="34" charset="0"/>
            </a:rPr>
            <a:t> </a:t>
          </a:r>
          <a:r>
            <a:rPr lang="en-US" sz="1100" kern="1200" err="1">
              <a:latin typeface="Lato" panose="020F0502020204030203" pitchFamily="34" charset="0"/>
            </a:rPr>
            <a:t>läpikäynti</a:t>
          </a:r>
          <a:r>
            <a:rPr lang="en-US" sz="1100" kern="1200">
              <a:latin typeface="Lato" panose="020F0502020204030203" pitchFamily="34" charset="0"/>
            </a:rPr>
            <a:t> ja </a:t>
          </a:r>
          <a:r>
            <a:rPr lang="en-US" sz="1100" kern="1200" err="1">
              <a:latin typeface="Lato" panose="020F0502020204030203" pitchFamily="34" charset="0"/>
            </a:rPr>
            <a:t>konkretisointi</a:t>
          </a:r>
          <a:endParaRPr lang="fi-FI" sz="110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100" i="1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1" kern="1200">
              <a:solidFill>
                <a:srgbClr val="0089CF"/>
              </a:solidFill>
              <a:latin typeface="Lato" panose="020F0502020204030203" pitchFamily="34" charset="0"/>
            </a:rPr>
            <a:t>Tuotos: Digitalisaation johtamismallin luonnos ja evästykset mallin kehittämiseksi</a:t>
          </a:r>
        </a:p>
      </dsp:txBody>
      <dsp:txXfrm>
        <a:off x="4111405" y="862710"/>
        <a:ext cx="1815678" cy="2425500"/>
      </dsp:txXfrm>
    </dsp:sp>
    <dsp:sp modelId="{AC4DCF85-E913-4ED7-B22D-47DF43E7B33F}">
      <dsp:nvSpPr>
        <dsp:cNvPr id="0" name=""/>
        <dsp:cNvSpPr/>
      </dsp:nvSpPr>
      <dsp:spPr>
        <a:xfrm>
          <a:off x="6165003" y="194460"/>
          <a:ext cx="2269598" cy="594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>
              <a:latin typeface="Lato" panose="020F0502020204030203" pitchFamily="34" charset="0"/>
            </a:rPr>
            <a:t>Työpaja 3, 24.2.2021</a:t>
          </a:r>
        </a:p>
      </dsp:txBody>
      <dsp:txXfrm>
        <a:off x="6462003" y="194460"/>
        <a:ext cx="1675598" cy="594000"/>
      </dsp:txXfrm>
    </dsp:sp>
    <dsp:sp modelId="{EFC47D73-6FD2-4902-B7F5-720E1F1F9DD7}">
      <dsp:nvSpPr>
        <dsp:cNvPr id="0" name=""/>
        <dsp:cNvSpPr/>
      </dsp:nvSpPr>
      <dsp:spPr>
        <a:xfrm>
          <a:off x="6165003" y="862710"/>
          <a:ext cx="1815678" cy="24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latin typeface="Lato" panose="020F0502020204030203" pitchFamily="34" charset="0"/>
            </a:rPr>
            <a:t>Johtoryhmä ottaa johtamismallin käyttöön laatimalla digiohjelman</a:t>
          </a:r>
          <a:endParaRPr lang="fi-FI" sz="1100" b="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0" kern="1200">
              <a:latin typeface="Lato" panose="020F0502020204030203" pitchFamily="34" charset="0"/>
            </a:rPr>
            <a:t>Digiohjelmassa määritetään tulevien vuosien digitalisaation kehitysaihiot teemoittain ja niille laaditaan karkea aikataulu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100" kern="1200"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1" kern="1200">
              <a:solidFill>
                <a:srgbClr val="0089CF"/>
              </a:solidFill>
              <a:latin typeface="Lato" panose="020F0502020204030203" pitchFamily="34" charset="0"/>
            </a:rPr>
            <a:t>Tuotos: Digiohjelman 1. versio</a:t>
          </a:r>
          <a:endParaRPr lang="fi-FI" sz="1100" kern="1200">
            <a:solidFill>
              <a:srgbClr val="0089CF"/>
            </a:solidFill>
            <a:latin typeface="Lato" panose="020F0502020204030203" pitchFamily="34" charset="0"/>
          </a:endParaRPr>
        </a:p>
      </dsp:txBody>
      <dsp:txXfrm>
        <a:off x="6165003" y="862710"/>
        <a:ext cx="1815678" cy="2425500"/>
      </dsp:txXfrm>
    </dsp:sp>
    <dsp:sp modelId="{F16A14EA-1129-4510-AAE7-817ADADC08E6}">
      <dsp:nvSpPr>
        <dsp:cNvPr id="0" name=""/>
        <dsp:cNvSpPr/>
      </dsp:nvSpPr>
      <dsp:spPr>
        <a:xfrm>
          <a:off x="8218601" y="194460"/>
          <a:ext cx="2269598" cy="5940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>
              <a:solidFill>
                <a:schemeClr val="bg1"/>
              </a:solidFill>
              <a:latin typeface="Lato" panose="020F0502020204030203" pitchFamily="34" charset="0"/>
            </a:rPr>
            <a:t>Johtoryhmäkäsittely, 5.5.2021</a:t>
          </a:r>
        </a:p>
      </dsp:txBody>
      <dsp:txXfrm>
        <a:off x="8515601" y="194460"/>
        <a:ext cx="1675598" cy="594000"/>
      </dsp:txXfrm>
    </dsp:sp>
    <dsp:sp modelId="{1494E4F7-2DB1-4EC4-8BBD-E9287F7C50B7}">
      <dsp:nvSpPr>
        <dsp:cNvPr id="0" name=""/>
        <dsp:cNvSpPr/>
      </dsp:nvSpPr>
      <dsp:spPr>
        <a:xfrm>
          <a:off x="8218601" y="862710"/>
          <a:ext cx="1815678" cy="24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kern="1200">
              <a:solidFill>
                <a:schemeClr val="tx1"/>
              </a:solidFill>
              <a:latin typeface="Lato" panose="020F0502020204030203" pitchFamily="34" charset="0"/>
            </a:rPr>
            <a:t>Digiohjelman kehitysaihioiden tarkastelu ja priorisointi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i-FI" sz="1100" kern="1200">
            <a:solidFill>
              <a:srgbClr val="0089CF"/>
            </a:solidFill>
            <a:latin typeface="Lato" panose="020F0502020204030203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100" i="1" kern="1200">
              <a:solidFill>
                <a:srgbClr val="0089CF"/>
              </a:solidFill>
              <a:latin typeface="Lato" panose="020F0502020204030203" pitchFamily="34" charset="0"/>
            </a:rPr>
            <a:t>Tuotos: Hyväksytty digiohjelma</a:t>
          </a:r>
        </a:p>
      </dsp:txBody>
      <dsp:txXfrm>
        <a:off x="8218601" y="862710"/>
        <a:ext cx="1815678" cy="24255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451BCE-3F58-404D-9928-476FC2E2DA22}">
      <dsp:nvSpPr>
        <dsp:cNvPr id="0" name=""/>
        <dsp:cNvSpPr/>
      </dsp:nvSpPr>
      <dsp:spPr>
        <a:xfrm>
          <a:off x="2170541" y="911780"/>
          <a:ext cx="1221517" cy="122151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A235E2B-0118-46D8-9B32-EC64E02A178F}">
      <dsp:nvSpPr>
        <dsp:cNvPr id="0" name=""/>
        <dsp:cNvSpPr/>
      </dsp:nvSpPr>
      <dsp:spPr>
        <a:xfrm>
          <a:off x="2017851" y="0"/>
          <a:ext cx="1526896" cy="83177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Asiakasrajapinnan sähköiset palvelut</a:t>
          </a:r>
        </a:p>
      </dsp:txBody>
      <dsp:txXfrm>
        <a:off x="2017851" y="0"/>
        <a:ext cx="1526896" cy="831772"/>
      </dsp:txXfrm>
    </dsp:sp>
    <dsp:sp modelId="{C7001E22-31E7-42E5-A4AA-A0F7A35CA69E}">
      <dsp:nvSpPr>
        <dsp:cNvPr id="0" name=""/>
        <dsp:cNvSpPr/>
      </dsp:nvSpPr>
      <dsp:spPr>
        <a:xfrm>
          <a:off x="2567025" y="1140716"/>
          <a:ext cx="1221517" cy="1221517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470B21B-B590-450E-B03D-C32CCBD4A626}">
      <dsp:nvSpPr>
        <dsp:cNvPr id="0" name=""/>
        <dsp:cNvSpPr/>
      </dsp:nvSpPr>
      <dsp:spPr>
        <a:xfrm>
          <a:off x="3879138" y="792164"/>
          <a:ext cx="1446988" cy="910988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Sähköinen arkistointi</a:t>
          </a:r>
        </a:p>
      </dsp:txBody>
      <dsp:txXfrm>
        <a:off x="3879138" y="792164"/>
        <a:ext cx="1446988" cy="910988"/>
      </dsp:txXfrm>
    </dsp:sp>
    <dsp:sp modelId="{B6E335F9-7C44-4C15-84A6-6EE9BAF4C11C}">
      <dsp:nvSpPr>
        <dsp:cNvPr id="0" name=""/>
        <dsp:cNvSpPr/>
      </dsp:nvSpPr>
      <dsp:spPr>
        <a:xfrm>
          <a:off x="2567025" y="1598587"/>
          <a:ext cx="1221517" cy="1221517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D476884A-4E74-4CF2-8811-27D4921BFE66}">
      <dsp:nvSpPr>
        <dsp:cNvPr id="0" name=""/>
        <dsp:cNvSpPr/>
      </dsp:nvSpPr>
      <dsp:spPr>
        <a:xfrm>
          <a:off x="3879138" y="2150725"/>
          <a:ext cx="1446988" cy="101793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Toiminnan ohjaus</a:t>
          </a:r>
        </a:p>
      </dsp:txBody>
      <dsp:txXfrm>
        <a:off x="3879138" y="2150725"/>
        <a:ext cx="1446988" cy="1017930"/>
      </dsp:txXfrm>
    </dsp:sp>
    <dsp:sp modelId="{8682449B-4501-44A3-AEB5-233E9BFF30D1}">
      <dsp:nvSpPr>
        <dsp:cNvPr id="0" name=""/>
        <dsp:cNvSpPr/>
      </dsp:nvSpPr>
      <dsp:spPr>
        <a:xfrm>
          <a:off x="2170541" y="1827918"/>
          <a:ext cx="1221517" cy="1221517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8DBD5B5-B348-4B49-B2FB-DB6FE016B520}">
      <dsp:nvSpPr>
        <dsp:cNvPr id="0" name=""/>
        <dsp:cNvSpPr/>
      </dsp:nvSpPr>
      <dsp:spPr>
        <a:xfrm>
          <a:off x="2017851" y="3129048"/>
          <a:ext cx="1526896" cy="83177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Digitaalinen hallinto ja työympäristö</a:t>
          </a:r>
        </a:p>
      </dsp:txBody>
      <dsp:txXfrm>
        <a:off x="2017851" y="3129048"/>
        <a:ext cx="1526896" cy="831772"/>
      </dsp:txXfrm>
    </dsp:sp>
    <dsp:sp modelId="{738F1CD8-50DD-49D5-801D-06AB844E9098}">
      <dsp:nvSpPr>
        <dsp:cNvPr id="0" name=""/>
        <dsp:cNvSpPr/>
      </dsp:nvSpPr>
      <dsp:spPr>
        <a:xfrm>
          <a:off x="1774057" y="1598587"/>
          <a:ext cx="1221517" cy="1221517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4DD07C4-8ACF-453C-B6B5-79555CD875FF}">
      <dsp:nvSpPr>
        <dsp:cNvPr id="0" name=""/>
        <dsp:cNvSpPr/>
      </dsp:nvSpPr>
      <dsp:spPr>
        <a:xfrm>
          <a:off x="236472" y="2150725"/>
          <a:ext cx="1446988" cy="101793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Tiedolla johtaminen ja toimiminen</a:t>
          </a:r>
        </a:p>
      </dsp:txBody>
      <dsp:txXfrm>
        <a:off x="236472" y="2150725"/>
        <a:ext cx="1446988" cy="1017930"/>
      </dsp:txXfrm>
    </dsp:sp>
    <dsp:sp modelId="{6009D190-6E38-43BC-906D-4A86F553DA07}">
      <dsp:nvSpPr>
        <dsp:cNvPr id="0" name=""/>
        <dsp:cNvSpPr/>
      </dsp:nvSpPr>
      <dsp:spPr>
        <a:xfrm>
          <a:off x="1774057" y="1140716"/>
          <a:ext cx="1221517" cy="122151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5347FEE-C243-4FC5-A714-80D13FFBC4C8}">
      <dsp:nvSpPr>
        <dsp:cNvPr id="0" name=""/>
        <dsp:cNvSpPr/>
      </dsp:nvSpPr>
      <dsp:spPr>
        <a:xfrm>
          <a:off x="236472" y="792164"/>
          <a:ext cx="1446988" cy="101793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500" kern="1200">
              <a:latin typeface="Lato" panose="020F0502020204030203" pitchFamily="34" charset="0"/>
            </a:rPr>
            <a:t>Digiympäristö mahdollistajana</a:t>
          </a:r>
        </a:p>
      </dsp:txBody>
      <dsp:txXfrm>
        <a:off x="236472" y="792164"/>
        <a:ext cx="1446988" cy="10179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22D33A-C07C-4EC9-8C5A-10C255ADFC80}">
      <dsp:nvSpPr>
        <dsp:cNvPr id="0" name=""/>
        <dsp:cNvSpPr/>
      </dsp:nvSpPr>
      <dsp:spPr>
        <a:xfrm>
          <a:off x="5867" y="0"/>
          <a:ext cx="2059109" cy="3967566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Asiakasrajapinnan sähköiset palvelut</a:t>
          </a:r>
        </a:p>
      </dsp:txBody>
      <dsp:txXfrm>
        <a:off x="5867" y="0"/>
        <a:ext cx="2059109" cy="1190269"/>
      </dsp:txXfrm>
    </dsp:sp>
    <dsp:sp modelId="{921EBD65-F687-43D7-B906-3CBE59A03C77}">
      <dsp:nvSpPr>
        <dsp:cNvPr id="0" name=""/>
        <dsp:cNvSpPr/>
      </dsp:nvSpPr>
      <dsp:spPr>
        <a:xfrm>
          <a:off x="211778" y="1190996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/>
            <a:t>Sähköinen lupapalvelu ympäristöpalveluissa</a:t>
          </a:r>
        </a:p>
      </dsp:txBody>
      <dsp:txXfrm>
        <a:off x="220095" y="1199313"/>
        <a:ext cx="1630653" cy="267324"/>
      </dsp:txXfrm>
    </dsp:sp>
    <dsp:sp modelId="{C4B8B6D4-D2E2-4EEF-80A3-BEC091798FA3}">
      <dsp:nvSpPr>
        <dsp:cNvPr id="0" name=""/>
        <dsp:cNvSpPr/>
      </dsp:nvSpPr>
      <dsp:spPr>
        <a:xfrm>
          <a:off x="211778" y="1518640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Omaa terveyttä ja hyvinvointia </a:t>
          </a:r>
          <a:br>
            <a:rPr lang="fi-FI" sz="700" b="0" kern="1200"/>
          </a:br>
          <a:r>
            <a:rPr lang="fi-FI" sz="700" b="0" kern="1200"/>
            <a:t>edistävät ratkaisut</a:t>
          </a:r>
        </a:p>
      </dsp:txBody>
      <dsp:txXfrm>
        <a:off x="220095" y="1526957"/>
        <a:ext cx="1630653" cy="267324"/>
      </dsp:txXfrm>
    </dsp:sp>
    <dsp:sp modelId="{D026FC47-64EC-4D3D-93C9-1196F326E019}">
      <dsp:nvSpPr>
        <dsp:cNvPr id="0" name=""/>
        <dsp:cNvSpPr/>
      </dsp:nvSpPr>
      <dsp:spPr>
        <a:xfrm>
          <a:off x="211778" y="1846283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Palveluohjauksen digitaaliset </a:t>
          </a:r>
          <a:br>
            <a:rPr lang="fi-FI" sz="700" b="0" kern="1200"/>
          </a:br>
          <a:r>
            <a:rPr lang="fi-FI" sz="700" b="0" kern="1200"/>
            <a:t>ratkaisut​</a:t>
          </a:r>
        </a:p>
      </dsp:txBody>
      <dsp:txXfrm>
        <a:off x="220095" y="1854600"/>
        <a:ext cx="1630653" cy="267324"/>
      </dsp:txXfrm>
    </dsp:sp>
    <dsp:sp modelId="{0B3B5992-3116-4F0F-8BB7-7CD16530BB42}">
      <dsp:nvSpPr>
        <dsp:cNvPr id="0" name=""/>
        <dsp:cNvSpPr/>
      </dsp:nvSpPr>
      <dsp:spPr>
        <a:xfrm>
          <a:off x="211778" y="2173927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Etävastaanotto</a:t>
          </a:r>
        </a:p>
      </dsp:txBody>
      <dsp:txXfrm>
        <a:off x="220095" y="2182244"/>
        <a:ext cx="1630653" cy="267324"/>
      </dsp:txXfrm>
    </dsp:sp>
    <dsp:sp modelId="{C3D754FF-8B4D-48B0-B9DD-6CCAD3646D4F}">
      <dsp:nvSpPr>
        <dsp:cNvPr id="0" name=""/>
        <dsp:cNvSpPr/>
      </dsp:nvSpPr>
      <dsp:spPr>
        <a:xfrm>
          <a:off x="211778" y="2501571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Ilmoittautumisautomaatit</a:t>
          </a:r>
        </a:p>
      </dsp:txBody>
      <dsp:txXfrm>
        <a:off x="220095" y="2509888"/>
        <a:ext cx="1630653" cy="267324"/>
      </dsp:txXfrm>
    </dsp:sp>
    <dsp:sp modelId="{A5B21FF8-2135-4D84-A71C-CDAF736FCFAB}">
      <dsp:nvSpPr>
        <dsp:cNvPr id="0" name=""/>
        <dsp:cNvSpPr/>
      </dsp:nvSpPr>
      <dsp:spPr>
        <a:xfrm>
          <a:off x="211778" y="2829215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Kotiin vietävien palvelujen </a:t>
          </a:r>
          <a:br>
            <a:rPr lang="fi-FI" sz="700" b="0" kern="1200"/>
          </a:br>
          <a:r>
            <a:rPr lang="fi-FI" sz="700" b="0" kern="1200"/>
            <a:t>kokonaisuus</a:t>
          </a:r>
        </a:p>
      </dsp:txBody>
      <dsp:txXfrm>
        <a:off x="220095" y="2837532"/>
        <a:ext cx="1630653" cy="267324"/>
      </dsp:txXfrm>
    </dsp:sp>
    <dsp:sp modelId="{4ED4DA7F-37B9-420D-BCB8-37B027C834EF}">
      <dsp:nvSpPr>
        <dsp:cNvPr id="0" name=""/>
        <dsp:cNvSpPr/>
      </dsp:nvSpPr>
      <dsp:spPr>
        <a:xfrm>
          <a:off x="211778" y="3156859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utomatisoitu </a:t>
          </a:r>
          <a:br>
            <a:rPr lang="fi-FI" sz="700" kern="1200"/>
          </a:br>
          <a:r>
            <a:rPr lang="fi-FI" sz="700" kern="1200"/>
            <a:t>asiakaspalautejärjestelmä</a:t>
          </a:r>
        </a:p>
      </dsp:txBody>
      <dsp:txXfrm>
        <a:off x="220095" y="3165176"/>
        <a:ext cx="1630653" cy="267324"/>
      </dsp:txXfrm>
    </dsp:sp>
    <dsp:sp modelId="{7047B533-F2D2-40E9-879B-44924901FEDD}">
      <dsp:nvSpPr>
        <dsp:cNvPr id="0" name=""/>
        <dsp:cNvSpPr/>
      </dsp:nvSpPr>
      <dsp:spPr>
        <a:xfrm>
          <a:off x="211778" y="3484503"/>
          <a:ext cx="1647287" cy="28395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siakkaan itse tuottaman sähköisen tiedon hyötykäyttö</a:t>
          </a:r>
        </a:p>
      </dsp:txBody>
      <dsp:txXfrm>
        <a:off x="220095" y="3492820"/>
        <a:ext cx="1630653" cy="267324"/>
      </dsp:txXfrm>
    </dsp:sp>
    <dsp:sp modelId="{06FA3C38-D0E1-468F-A4A8-3AF764B790FF}">
      <dsp:nvSpPr>
        <dsp:cNvPr id="0" name=""/>
        <dsp:cNvSpPr/>
      </dsp:nvSpPr>
      <dsp:spPr>
        <a:xfrm>
          <a:off x="2219410" y="0"/>
          <a:ext cx="2059109" cy="3967566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Sähköinen arkistointi</a:t>
          </a:r>
        </a:p>
      </dsp:txBody>
      <dsp:txXfrm>
        <a:off x="2219410" y="0"/>
        <a:ext cx="2059109" cy="1190269"/>
      </dsp:txXfrm>
    </dsp:sp>
    <dsp:sp modelId="{D509728D-6BB3-4829-B9F9-9FFF61E97AE3}">
      <dsp:nvSpPr>
        <dsp:cNvPr id="0" name=""/>
        <dsp:cNvSpPr/>
      </dsp:nvSpPr>
      <dsp:spPr>
        <a:xfrm>
          <a:off x="2425321" y="1190269"/>
          <a:ext cx="1647287" cy="257891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rkistointiratkaisun käyttöönotto, digitointi ja digitaalisten aineistojen siirtäminen nykyisistä ja käytöstä poistettujen ratkaisujen</a:t>
          </a:r>
        </a:p>
      </dsp:txBody>
      <dsp:txXfrm>
        <a:off x="2473568" y="1238516"/>
        <a:ext cx="1550793" cy="2482423"/>
      </dsp:txXfrm>
    </dsp:sp>
    <dsp:sp modelId="{82C9BB27-AC60-4A01-83B0-DADC643FDBC3}">
      <dsp:nvSpPr>
        <dsp:cNvPr id="0" name=""/>
        <dsp:cNvSpPr/>
      </dsp:nvSpPr>
      <dsp:spPr>
        <a:xfrm>
          <a:off x="4432952" y="0"/>
          <a:ext cx="2059109" cy="3967566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Toiminnan ohjaus</a:t>
          </a:r>
        </a:p>
      </dsp:txBody>
      <dsp:txXfrm>
        <a:off x="4432952" y="0"/>
        <a:ext cx="2059109" cy="1190269"/>
      </dsp:txXfrm>
    </dsp:sp>
    <dsp:sp modelId="{5987A413-C779-4E39-B772-A843FA81338F}">
      <dsp:nvSpPr>
        <dsp:cNvPr id="0" name=""/>
        <dsp:cNvSpPr/>
      </dsp:nvSpPr>
      <dsp:spPr>
        <a:xfrm>
          <a:off x="4638863" y="1191020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Toimintalähtöinen </a:t>
          </a:r>
          <a:br>
            <a:rPr lang="fi-FI" sz="700" kern="1200"/>
          </a:br>
          <a:r>
            <a:rPr lang="fi-FI" sz="700" kern="1200"/>
            <a:t>työvuorosuunnittelu</a:t>
          </a:r>
        </a:p>
      </dsp:txBody>
      <dsp:txXfrm>
        <a:off x="4652306" y="1204463"/>
        <a:ext cx="1620401" cy="432105"/>
      </dsp:txXfrm>
    </dsp:sp>
    <dsp:sp modelId="{E31CFFF1-459E-4F33-B4BC-C2EBC66A8FEA}">
      <dsp:nvSpPr>
        <dsp:cNvPr id="0" name=""/>
        <dsp:cNvSpPr/>
      </dsp:nvSpPr>
      <dsp:spPr>
        <a:xfrm>
          <a:off x="4638863" y="1720626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 err="1"/>
            <a:t>Sosiaali</a:t>
          </a:r>
          <a:r>
            <a:rPr lang="fi-FI" sz="700" kern="1200"/>
            <a:t>- ja terveystiedon yhdistäminen ja yhteiskäyttö operatiivisissa prosesseissa (asiakaskohtainen)​</a:t>
          </a:r>
        </a:p>
      </dsp:txBody>
      <dsp:txXfrm>
        <a:off x="4652306" y="1734069"/>
        <a:ext cx="1620401" cy="432105"/>
      </dsp:txXfrm>
    </dsp:sp>
    <dsp:sp modelId="{3BF083A0-DCCE-4CBF-8E94-2D5980858733}">
      <dsp:nvSpPr>
        <dsp:cNvPr id="0" name=""/>
        <dsp:cNvSpPr/>
      </dsp:nvSpPr>
      <dsp:spPr>
        <a:xfrm>
          <a:off x="4638863" y="2250232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siakkaan siirto palvelusta toiseen ja identiteetin tunnistaminen tässä prosessissa​</a:t>
          </a:r>
        </a:p>
      </dsp:txBody>
      <dsp:txXfrm>
        <a:off x="4652306" y="2263675"/>
        <a:ext cx="1620401" cy="432105"/>
      </dsp:txXfrm>
    </dsp:sp>
    <dsp:sp modelId="{23E90D8F-F9CE-4441-989D-9058306EB6E7}">
      <dsp:nvSpPr>
        <dsp:cNvPr id="0" name=""/>
        <dsp:cNvSpPr/>
      </dsp:nvSpPr>
      <dsp:spPr>
        <a:xfrm>
          <a:off x="4638863" y="2779838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Toiminnan-/</a:t>
          </a:r>
          <a:br>
            <a:rPr lang="fi-FI" sz="700" kern="1200"/>
          </a:br>
          <a:r>
            <a:rPr lang="fi-FI" sz="700" kern="1200"/>
            <a:t>tuotannonohjausjärjestelmä</a:t>
          </a:r>
        </a:p>
      </dsp:txBody>
      <dsp:txXfrm>
        <a:off x="4652306" y="2793281"/>
        <a:ext cx="1620401" cy="432105"/>
      </dsp:txXfrm>
    </dsp:sp>
    <dsp:sp modelId="{1C472AC2-B9CE-425C-B478-EDF8DF758F26}">
      <dsp:nvSpPr>
        <dsp:cNvPr id="0" name=""/>
        <dsp:cNvSpPr/>
      </dsp:nvSpPr>
      <dsp:spPr>
        <a:xfrm>
          <a:off x="4638863" y="3309445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utomatiikan ja robotiikan </a:t>
          </a:r>
          <a:br>
            <a:rPr lang="fi-FI" sz="700" kern="1200"/>
          </a:br>
          <a:r>
            <a:rPr lang="fi-FI" sz="700" kern="1200"/>
            <a:t>lisääminen toiminnassa</a:t>
          </a:r>
        </a:p>
      </dsp:txBody>
      <dsp:txXfrm>
        <a:off x="4652306" y="3322888"/>
        <a:ext cx="1620401" cy="432105"/>
      </dsp:txXfrm>
    </dsp:sp>
    <dsp:sp modelId="{2894B579-C70F-4567-ABF5-0FBEC776335B}">
      <dsp:nvSpPr>
        <dsp:cNvPr id="0" name=""/>
        <dsp:cNvSpPr/>
      </dsp:nvSpPr>
      <dsp:spPr>
        <a:xfrm>
          <a:off x="6646494" y="0"/>
          <a:ext cx="2059109" cy="3967566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Digitaalinen hallinto ja työympäristö</a:t>
          </a:r>
        </a:p>
      </dsp:txBody>
      <dsp:txXfrm>
        <a:off x="6646494" y="0"/>
        <a:ext cx="2059109" cy="1190269"/>
      </dsp:txXfrm>
    </dsp:sp>
    <dsp:sp modelId="{D59D40E1-0985-4F51-8FE8-28B7ED389296}">
      <dsp:nvSpPr>
        <dsp:cNvPr id="0" name=""/>
        <dsp:cNvSpPr/>
      </dsp:nvSpPr>
      <dsp:spPr>
        <a:xfrm>
          <a:off x="6852405" y="1191020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Automaattinen päätöksenteko</a:t>
          </a:r>
        </a:p>
      </dsp:txBody>
      <dsp:txXfrm>
        <a:off x="6865848" y="1204463"/>
        <a:ext cx="1620401" cy="432105"/>
      </dsp:txXfrm>
    </dsp:sp>
    <dsp:sp modelId="{571A0516-9AC9-4AB7-8F6A-A6FD96D5B4FB}">
      <dsp:nvSpPr>
        <dsp:cNvPr id="0" name=""/>
        <dsp:cNvSpPr/>
      </dsp:nvSpPr>
      <dsp:spPr>
        <a:xfrm>
          <a:off x="6852405" y="1720626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b="0" kern="1200"/>
            <a:t>Sisäisten prosessien </a:t>
          </a:r>
          <a:br>
            <a:rPr lang="fi-FI" sz="700" b="0" kern="1200"/>
          </a:br>
          <a:r>
            <a:rPr lang="fi-FI" sz="700" b="0" kern="1200"/>
            <a:t>virtaviivaistaminen ja </a:t>
          </a:r>
          <a:br>
            <a:rPr lang="fi-FI" sz="700" b="0" kern="1200"/>
          </a:br>
          <a:r>
            <a:rPr lang="fi-FI" sz="700" b="0" kern="1200"/>
            <a:t>sähköistäminen</a:t>
          </a:r>
        </a:p>
      </dsp:txBody>
      <dsp:txXfrm>
        <a:off x="6865848" y="1734069"/>
        <a:ext cx="1620401" cy="432105"/>
      </dsp:txXfrm>
    </dsp:sp>
    <dsp:sp modelId="{3963C424-BD05-47B3-8B47-F627B04CD9E6}">
      <dsp:nvSpPr>
        <dsp:cNvPr id="0" name=""/>
        <dsp:cNvSpPr/>
      </dsp:nvSpPr>
      <dsp:spPr>
        <a:xfrm>
          <a:off x="6852405" y="2250232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Etätyö​</a:t>
          </a:r>
        </a:p>
      </dsp:txBody>
      <dsp:txXfrm>
        <a:off x="6865848" y="2263675"/>
        <a:ext cx="1620401" cy="432105"/>
      </dsp:txXfrm>
    </dsp:sp>
    <dsp:sp modelId="{4A6C3E54-8786-4FD9-990E-DCBD7B79B549}">
      <dsp:nvSpPr>
        <dsp:cNvPr id="0" name=""/>
        <dsp:cNvSpPr/>
      </dsp:nvSpPr>
      <dsp:spPr>
        <a:xfrm>
          <a:off x="6852405" y="2779838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Sopimushallinnan kokonaisuuden digitalisointi​</a:t>
          </a:r>
        </a:p>
      </dsp:txBody>
      <dsp:txXfrm>
        <a:off x="6865848" y="2793281"/>
        <a:ext cx="1620401" cy="432105"/>
      </dsp:txXfrm>
    </dsp:sp>
    <dsp:sp modelId="{8252AD0F-FD64-47C2-AF4F-98A839025C17}">
      <dsp:nvSpPr>
        <dsp:cNvPr id="0" name=""/>
        <dsp:cNvSpPr/>
      </dsp:nvSpPr>
      <dsp:spPr>
        <a:xfrm>
          <a:off x="6852405" y="3309445"/>
          <a:ext cx="1647287" cy="45899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Ostopalveluiden </a:t>
          </a:r>
          <a:br>
            <a:rPr lang="fi-FI" sz="700" kern="1200"/>
          </a:br>
          <a:r>
            <a:rPr lang="fi-FI" sz="700" kern="1200"/>
            <a:t>sähköinen järjestelmä</a:t>
          </a:r>
        </a:p>
      </dsp:txBody>
      <dsp:txXfrm>
        <a:off x="6865848" y="3322888"/>
        <a:ext cx="1620401" cy="432105"/>
      </dsp:txXfrm>
    </dsp:sp>
    <dsp:sp modelId="{3D651EFC-965E-4244-962F-CFF4E80627A1}">
      <dsp:nvSpPr>
        <dsp:cNvPr id="0" name=""/>
        <dsp:cNvSpPr/>
      </dsp:nvSpPr>
      <dsp:spPr>
        <a:xfrm>
          <a:off x="8860036" y="0"/>
          <a:ext cx="2059109" cy="3967566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Tiedolla johtaminen ja toimiminen</a:t>
          </a:r>
        </a:p>
      </dsp:txBody>
      <dsp:txXfrm>
        <a:off x="8860036" y="0"/>
        <a:ext cx="2059109" cy="1190269"/>
      </dsp:txXfrm>
    </dsp:sp>
    <dsp:sp modelId="{811C5ECB-FC85-40B5-AB47-A975C16A7C09}">
      <dsp:nvSpPr>
        <dsp:cNvPr id="0" name=""/>
        <dsp:cNvSpPr/>
      </dsp:nvSpPr>
      <dsp:spPr>
        <a:xfrm>
          <a:off x="9065947" y="1190366"/>
          <a:ext cx="1647287" cy="57798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Olemassa olevan ja tarvittavan </a:t>
          </a:r>
          <a:br>
            <a:rPr lang="fi-FI" sz="700" kern="1200"/>
          </a:br>
          <a:r>
            <a:rPr lang="fi-FI" sz="700" kern="1200"/>
            <a:t>tiedon tunnistaminen​</a:t>
          </a:r>
        </a:p>
      </dsp:txBody>
      <dsp:txXfrm>
        <a:off x="9082876" y="1207295"/>
        <a:ext cx="1613429" cy="544131"/>
      </dsp:txXfrm>
    </dsp:sp>
    <dsp:sp modelId="{A55C97CB-42C8-416F-A7D3-DFC9F62DC405}">
      <dsp:nvSpPr>
        <dsp:cNvPr id="0" name=""/>
        <dsp:cNvSpPr/>
      </dsp:nvSpPr>
      <dsp:spPr>
        <a:xfrm>
          <a:off x="9065947" y="1857278"/>
          <a:ext cx="1647287" cy="57798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Sosiaalityön data osaksi tiedolla johtamisen datapohjaa ja poiminnan automatisointi​</a:t>
          </a:r>
        </a:p>
      </dsp:txBody>
      <dsp:txXfrm>
        <a:off x="9082876" y="1874207"/>
        <a:ext cx="1613429" cy="544131"/>
      </dsp:txXfrm>
    </dsp:sp>
    <dsp:sp modelId="{5C25422A-4E75-46B6-9FEE-459ACE85E026}">
      <dsp:nvSpPr>
        <dsp:cNvPr id="0" name=""/>
        <dsp:cNvSpPr/>
      </dsp:nvSpPr>
      <dsp:spPr>
        <a:xfrm>
          <a:off x="9065947" y="2524189"/>
          <a:ext cx="1647287" cy="57798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siakas- ja potilasvirtojen analysointi ja mm. paljon palveluita käyttävien asiakkaiden tunnistaminen​</a:t>
          </a:r>
        </a:p>
      </dsp:txBody>
      <dsp:txXfrm>
        <a:off x="9082876" y="2541118"/>
        <a:ext cx="1613429" cy="544131"/>
      </dsp:txXfrm>
    </dsp:sp>
    <dsp:sp modelId="{6441AADD-E289-43BB-9BA5-1B47075EF19B}">
      <dsp:nvSpPr>
        <dsp:cNvPr id="0" name=""/>
        <dsp:cNvSpPr/>
      </dsp:nvSpPr>
      <dsp:spPr>
        <a:xfrm>
          <a:off x="9065947" y="3191100"/>
          <a:ext cx="1647287" cy="57798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3335" rIns="17780" bIns="13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/>
            <a:t>Analytiikan kouluttaminen</a:t>
          </a:r>
        </a:p>
      </dsp:txBody>
      <dsp:txXfrm>
        <a:off x="9082876" y="3208029"/>
        <a:ext cx="1613429" cy="5441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2BEE1B-10F6-41C1-9369-F14884DBFE02}">
      <dsp:nvSpPr>
        <dsp:cNvPr id="0" name=""/>
        <dsp:cNvSpPr/>
      </dsp:nvSpPr>
      <dsp:spPr>
        <a:xfrm>
          <a:off x="0" y="0"/>
          <a:ext cx="10925014" cy="120628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Digiympäristö mahdollistajana</a:t>
          </a:r>
        </a:p>
      </dsp:txBody>
      <dsp:txXfrm>
        <a:off x="0" y="0"/>
        <a:ext cx="10925014" cy="361884"/>
      </dsp:txXfrm>
    </dsp:sp>
    <dsp:sp modelId="{577851CA-A8FE-4C3F-84A0-C04388788BAB}">
      <dsp:nvSpPr>
        <dsp:cNvPr id="0" name=""/>
        <dsp:cNvSpPr/>
      </dsp:nvSpPr>
      <dsp:spPr>
        <a:xfrm>
          <a:off x="1092501" y="361987"/>
          <a:ext cx="8740011" cy="23698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/>
            <a:t>Yhtenäiset järjestelmät​</a:t>
          </a:r>
        </a:p>
      </dsp:txBody>
      <dsp:txXfrm>
        <a:off x="1099442" y="368928"/>
        <a:ext cx="8726129" cy="223104"/>
      </dsp:txXfrm>
    </dsp:sp>
    <dsp:sp modelId="{A507AD3F-9C72-49F3-A5E4-002FC08AC378}">
      <dsp:nvSpPr>
        <dsp:cNvPr id="0" name=""/>
        <dsp:cNvSpPr/>
      </dsp:nvSpPr>
      <dsp:spPr>
        <a:xfrm>
          <a:off x="1092501" y="635433"/>
          <a:ext cx="8740011" cy="23698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/>
            <a:t>Nykyjärjestelmien käytön tehostamisen suunnittelu ja kouluttaminen​</a:t>
          </a:r>
        </a:p>
      </dsp:txBody>
      <dsp:txXfrm>
        <a:off x="1099442" y="642374"/>
        <a:ext cx="8726129" cy="223104"/>
      </dsp:txXfrm>
    </dsp:sp>
    <dsp:sp modelId="{9C919B0C-6B47-41A1-A028-8047963C3739}">
      <dsp:nvSpPr>
        <dsp:cNvPr id="0" name=""/>
        <dsp:cNvSpPr/>
      </dsp:nvSpPr>
      <dsp:spPr>
        <a:xfrm>
          <a:off x="1092501" y="908879"/>
          <a:ext cx="8740011" cy="23698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5240" rIns="20320" bIns="1524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/>
            <a:t>Kertakirjautuminen</a:t>
          </a:r>
        </a:p>
      </dsp:txBody>
      <dsp:txXfrm>
        <a:off x="1099442" y="915820"/>
        <a:ext cx="8726129" cy="22310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D7CCA-3BB3-4954-BB70-5D5F66BC43B0}">
      <dsp:nvSpPr>
        <dsp:cNvPr id="0" name=""/>
        <dsp:cNvSpPr/>
      </dsp:nvSpPr>
      <dsp:spPr>
        <a:xfrm>
          <a:off x="3953" y="424803"/>
          <a:ext cx="2377306" cy="9002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/>
            <a:t>Sähköiset palvelut</a:t>
          </a:r>
        </a:p>
      </dsp:txBody>
      <dsp:txXfrm>
        <a:off x="3953" y="424803"/>
        <a:ext cx="2377306" cy="900251"/>
      </dsp:txXfrm>
    </dsp:sp>
    <dsp:sp modelId="{F3383CA3-6F5E-47B5-9D3F-991A400AF6D3}">
      <dsp:nvSpPr>
        <dsp:cNvPr id="0" name=""/>
        <dsp:cNvSpPr/>
      </dsp:nvSpPr>
      <dsp:spPr>
        <a:xfrm>
          <a:off x="3953" y="1325055"/>
          <a:ext cx="2377306" cy="278343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Olemassa olevien sähköisten palvelujen tunteminen ja käyttöosaamine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Sähköisten palvelujen valtakunnallisen tilanteen ja kehittymissuuntien ymmärtäminen ja arviointi sekä kyky soveltaa niitä suhteessa omaan organisaatio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Uusien digitaalisten palvelujen selvitystyössä ja käyttöönotossa mukana oleminen</a:t>
          </a:r>
        </a:p>
      </dsp:txBody>
      <dsp:txXfrm>
        <a:off x="3953" y="1325055"/>
        <a:ext cx="2377306" cy="2783430"/>
      </dsp:txXfrm>
    </dsp:sp>
    <dsp:sp modelId="{7F78F221-BF73-4112-9C48-FB537B1568EE}">
      <dsp:nvSpPr>
        <dsp:cNvPr id="0" name=""/>
        <dsp:cNvSpPr/>
      </dsp:nvSpPr>
      <dsp:spPr>
        <a:xfrm>
          <a:off x="2714082" y="424803"/>
          <a:ext cx="2377306" cy="9002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/>
            <a:t>Palvelut ja prosessit</a:t>
          </a:r>
        </a:p>
      </dsp:txBody>
      <dsp:txXfrm>
        <a:off x="2714082" y="424803"/>
        <a:ext cx="2377306" cy="900251"/>
      </dsp:txXfrm>
    </dsp:sp>
    <dsp:sp modelId="{7C3288CC-4367-471C-9FE8-AD252C521918}">
      <dsp:nvSpPr>
        <dsp:cNvPr id="0" name=""/>
        <dsp:cNvSpPr/>
      </dsp:nvSpPr>
      <dsp:spPr>
        <a:xfrm>
          <a:off x="2714082" y="1325055"/>
          <a:ext cx="2377306" cy="278343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Palvelujen ja prosessien kehittäminen osana kokonaisarkkitehtuuria erilaisia menetelmiä hyödyntäen (palvelumuotoilu, </a:t>
          </a:r>
          <a:r>
            <a:rPr lang="fi-FI" sz="1300" kern="1200" err="1"/>
            <a:t>lean</a:t>
          </a:r>
          <a:r>
            <a:rPr lang="fi-FI" sz="1300" kern="1200"/>
            <a:t>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Palvelujen kuvaaminen ja yhteyksien rakentaminen ja analysoimine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Prosessien ajan tasalla pitäminen (kuvaaminen ja järjestäminen), yhteyksien rakentaminen ja analysoiminen</a:t>
          </a:r>
        </a:p>
      </dsp:txBody>
      <dsp:txXfrm>
        <a:off x="2714082" y="1325055"/>
        <a:ext cx="2377306" cy="2783430"/>
      </dsp:txXfrm>
    </dsp:sp>
    <dsp:sp modelId="{B8AA1FDB-6540-4282-A7C1-6A6D71283F67}">
      <dsp:nvSpPr>
        <dsp:cNvPr id="0" name=""/>
        <dsp:cNvSpPr/>
      </dsp:nvSpPr>
      <dsp:spPr>
        <a:xfrm>
          <a:off x="5424211" y="424803"/>
          <a:ext cx="2377306" cy="9002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/>
            <a:t>Kehittäminen ja KA</a:t>
          </a:r>
        </a:p>
      </dsp:txBody>
      <dsp:txXfrm>
        <a:off x="5424211" y="424803"/>
        <a:ext cx="2377306" cy="900251"/>
      </dsp:txXfrm>
    </dsp:sp>
    <dsp:sp modelId="{FC47B4F8-E933-4603-8AA8-1684776A61E7}">
      <dsp:nvSpPr>
        <dsp:cNvPr id="0" name=""/>
        <dsp:cNvSpPr/>
      </dsp:nvSpPr>
      <dsp:spPr>
        <a:xfrm>
          <a:off x="5424211" y="1325055"/>
          <a:ext cx="2377306" cy="278343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 err="1"/>
            <a:t>Arc</a:t>
          </a:r>
          <a:r>
            <a:rPr lang="fi-FI" sz="1300" kern="1200"/>
            <a:t>-kokonaisarkkitehtuuriohjelman käyttöosaaminen ja arvioiminen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Kehittämissalkun käyttäminen, kehittämistöiden koordinointi omalla vastuu- / tehtäväalueella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Kehittämisehdotuslomakkeen käyttö ja käyttöön opastaminen</a:t>
          </a:r>
        </a:p>
      </dsp:txBody>
      <dsp:txXfrm>
        <a:off x="5424211" y="1325055"/>
        <a:ext cx="2377306" cy="2783430"/>
      </dsp:txXfrm>
    </dsp:sp>
    <dsp:sp modelId="{E7D5F5BC-4F52-4B61-A494-99617534F5CA}">
      <dsp:nvSpPr>
        <dsp:cNvPr id="0" name=""/>
        <dsp:cNvSpPr/>
      </dsp:nvSpPr>
      <dsp:spPr>
        <a:xfrm>
          <a:off x="8134340" y="424803"/>
          <a:ext cx="2377306" cy="9002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800" kern="1200"/>
            <a:t>Operatiivisen toiminnan tukena oleminen</a:t>
          </a:r>
        </a:p>
      </dsp:txBody>
      <dsp:txXfrm>
        <a:off x="8134340" y="424803"/>
        <a:ext cx="2377306" cy="900251"/>
      </dsp:txXfrm>
    </dsp:sp>
    <dsp:sp modelId="{4754E982-23FC-427F-B6B0-80F356D21C04}">
      <dsp:nvSpPr>
        <dsp:cNvPr id="0" name=""/>
        <dsp:cNvSpPr/>
      </dsp:nvSpPr>
      <dsp:spPr>
        <a:xfrm>
          <a:off x="8134340" y="1325055"/>
          <a:ext cx="2377306" cy="278343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Digitalisaation soveltamisen organisointi ja koordinointi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Laiteosaamine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i-FI" sz="1300" kern="1200"/>
            <a:t>Teknologian ymmärtäminen ja soveltaminen</a:t>
          </a:r>
        </a:p>
      </dsp:txBody>
      <dsp:txXfrm>
        <a:off x="8134340" y="1325055"/>
        <a:ext cx="2377306" cy="27834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33912D-3F2D-4832-8AA3-58A300721C09}">
      <dsp:nvSpPr>
        <dsp:cNvPr id="0" name=""/>
        <dsp:cNvSpPr/>
      </dsp:nvSpPr>
      <dsp:spPr>
        <a:xfrm>
          <a:off x="1587500" y="0"/>
          <a:ext cx="1587499" cy="1219199"/>
        </a:xfrm>
        <a:prstGeom prst="trapezoid">
          <a:avLst>
            <a:gd name="adj" fmla="val 65104"/>
          </a:avLst>
        </a:prstGeom>
        <a:solidFill>
          <a:schemeClr val="accent5"/>
        </a:solidFill>
        <a:ln w="12700" cap="flat" cmpd="sng" algn="ctr">
          <a:solidFill>
            <a:schemeClr val="accent5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400" kern="1200" dirty="0">
              <a:latin typeface="Ivar Headline"/>
            </a:rPr>
            <a:t> </a:t>
          </a:r>
          <a:r>
            <a:rPr lang="fi-FI" sz="1600" kern="1200" dirty="0">
              <a:latin typeface="Ivar Headline"/>
            </a:rPr>
            <a:t>Strateginen taso</a:t>
          </a: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 dirty="0">
              <a:latin typeface="Ivar Headline"/>
            </a:rPr>
            <a:t>- suunta</a:t>
          </a:r>
          <a:endParaRPr lang="fi-FI" sz="1600" kern="1200" dirty="0"/>
        </a:p>
      </dsp:txBody>
      <dsp:txXfrm>
        <a:off x="1587500" y="0"/>
        <a:ext cx="1587499" cy="1219199"/>
      </dsp:txXfrm>
    </dsp:sp>
    <dsp:sp modelId="{8D99E4E7-A4E0-47B0-BE77-4BD48BE4D1E0}">
      <dsp:nvSpPr>
        <dsp:cNvPr id="0" name=""/>
        <dsp:cNvSpPr/>
      </dsp:nvSpPr>
      <dsp:spPr>
        <a:xfrm>
          <a:off x="793750" y="1219199"/>
          <a:ext cx="3174999" cy="1219199"/>
        </a:xfrm>
        <a:prstGeom prst="trapezoid">
          <a:avLst>
            <a:gd name="adj" fmla="val 65104"/>
          </a:avLst>
        </a:prstGeom>
        <a:gradFill rotWithShape="1">
          <a:gsLst>
            <a:gs pos="0">
              <a:schemeClr val="accent5">
                <a:lumMod val="110000"/>
                <a:satMod val="105000"/>
                <a:tint val="67000"/>
              </a:schemeClr>
            </a:gs>
            <a:gs pos="50000">
              <a:schemeClr val="accent5">
                <a:lumMod val="105000"/>
                <a:satMod val="103000"/>
                <a:tint val="73000"/>
              </a:schemeClr>
            </a:gs>
            <a:gs pos="100000">
              <a:schemeClr val="accent5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latin typeface="Ivar Headline"/>
            </a:rPr>
            <a:t>Taktinen taso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/>
            <a:t>- jalkautus</a:t>
          </a:r>
        </a:p>
      </dsp:txBody>
      <dsp:txXfrm>
        <a:off x="1349374" y="1219199"/>
        <a:ext cx="2063750" cy="1219199"/>
      </dsp:txXfrm>
    </dsp:sp>
    <dsp:sp modelId="{325E595A-8020-4EA2-9D7F-B749BE40E2B7}">
      <dsp:nvSpPr>
        <dsp:cNvPr id="0" name=""/>
        <dsp:cNvSpPr/>
      </dsp:nvSpPr>
      <dsp:spPr>
        <a:xfrm>
          <a:off x="0" y="2438399"/>
          <a:ext cx="4762499" cy="1219199"/>
        </a:xfrm>
        <a:prstGeom prst="trapezoid">
          <a:avLst>
            <a:gd name="adj" fmla="val 65104"/>
          </a:avLst>
        </a:prstGeom>
        <a:gradFill rotWithShape="1">
          <a:gsLst>
            <a:gs pos="0">
              <a:schemeClr val="accent1">
                <a:lumMod val="110000"/>
                <a:satMod val="105000"/>
                <a:tint val="67000"/>
              </a:schemeClr>
            </a:gs>
            <a:gs pos="50000">
              <a:schemeClr val="accent1">
                <a:lumMod val="105000"/>
                <a:satMod val="103000"/>
                <a:tint val="73000"/>
              </a:schemeClr>
            </a:gs>
            <a:gs pos="100000">
              <a:schemeClr val="accent1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latin typeface="Ivar Headline"/>
            </a:rPr>
            <a:t>Operatiivinen taso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latin typeface="Ivar Headline"/>
            </a:rPr>
            <a:t>- tuotokset</a:t>
          </a:r>
          <a:endParaRPr lang="fi-FI" sz="1600" kern="1200"/>
        </a:p>
      </dsp:txBody>
      <dsp:txXfrm>
        <a:off x="833437" y="2438399"/>
        <a:ext cx="3095625" cy="12191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BCE838-046B-4B48-B69A-C9A62EAE30FB}" type="datetimeFigureOut">
              <a:rPr lang="fi-FI" smtClean="0"/>
              <a:t>16.5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7DFDD-3C4F-4CBE-AC5C-1244280ABDF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005793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1BFBBB-F12E-4380-BBA9-5C37B1985B7D}" type="datetimeFigureOut">
              <a:rPr lang="fi-FI" smtClean="0"/>
              <a:t>16.5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A24BA7-6368-4894-904B-59CE596832F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105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4BA7-6368-4894-904B-59CE596832F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9479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4BA7-6368-4894-904B-59CE596832F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499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4BA7-6368-4894-904B-59CE596832F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584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4BA7-6368-4894-904B-59CE596832F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152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A24BA7-6368-4894-904B-59CE596832F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619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7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3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35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svg"/><Relationship Id="rId5" Type="http://schemas.openxmlformats.org/officeDocument/2006/relationships/image" Target="../media/image39.png"/><Relationship Id="rId4" Type="http://schemas.openxmlformats.org/officeDocument/2006/relationships/image" Target="../media/image7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27.png"/><Relationship Id="rId4" Type="http://schemas.openxmlformats.org/officeDocument/2006/relationships/image" Target="../media/image1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3.svg"/><Relationship Id="rId4" Type="http://schemas.openxmlformats.org/officeDocument/2006/relationships/image" Target="../media/image4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svg"/><Relationship Id="rId5" Type="http://schemas.openxmlformats.org/officeDocument/2006/relationships/image" Target="../media/image43.png"/><Relationship Id="rId4" Type="http://schemas.openxmlformats.org/officeDocument/2006/relationships/image" Target="../media/image7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svg"/><Relationship Id="rId5" Type="http://schemas.openxmlformats.org/officeDocument/2006/relationships/image" Target="../media/image27.png"/><Relationship Id="rId4" Type="http://schemas.openxmlformats.org/officeDocument/2006/relationships/image" Target="../media/image1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fi-FI"/>
              <a:t>Lisää tähän</a:t>
            </a:r>
            <a:br>
              <a:rPr lang="fi-FI"/>
            </a:br>
            <a:r>
              <a:rPr lang="fi-FI"/>
              <a:t>esityksen</a:t>
            </a:r>
            <a:br>
              <a:rPr lang="fi-FI"/>
            </a:br>
            <a:r>
              <a:rPr lang="fi-FI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34887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11" name="Sisällön paikkamerkki 2">
            <a:extLst>
              <a:ext uri="{FF2B5EF4-FFF2-40B4-BE49-F238E27FC236}">
                <a16:creationId xmlns:a16="http://schemas.microsoft.com/office/drawing/2014/main" id="{9657465F-EE4B-4F9A-BBC7-773C2B91B28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4126081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chemeClr val="bg1"/>
                </a:solidFill>
              </a:defRPr>
            </a:lvl1pPr>
          </a:lstStyle>
          <a:p>
            <a:r>
              <a:rPr lang="fi-FI"/>
              <a:t>Kiitos!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92B69210-5321-4AB2-B9EB-DEBA4DD6A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8" y="5285509"/>
            <a:ext cx="3429932" cy="645634"/>
          </a:xfrm>
          <a:prstGeom prst="rect">
            <a:avLst/>
          </a:prstGeom>
        </p:spPr>
      </p:pic>
      <p:pic>
        <p:nvPicPr>
          <p:cNvPr id="2" name="Kuva 1">
            <a:extLst>
              <a:ext uri="{FF2B5EF4-FFF2-40B4-BE49-F238E27FC236}">
                <a16:creationId xmlns:a16="http://schemas.microsoft.com/office/drawing/2014/main" id="{D26A8772-2014-4E73-A749-6BE5143EE8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81582" y="2827311"/>
            <a:ext cx="2594610" cy="3103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427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rgbClr val="0089D0"/>
                </a:solidFill>
              </a:defRPr>
            </a:lvl1pPr>
          </a:lstStyle>
          <a:p>
            <a:r>
              <a:rPr lang="fi-FI"/>
              <a:t>Kiitos!</a:t>
            </a: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A76F2118-8D4E-459E-B056-E1100F6D00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81582" y="2827311"/>
            <a:ext cx="2594081" cy="3103200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1F7FBB61-D664-4CD1-A700-DD7BF40961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4887" y="5286126"/>
            <a:ext cx="3423375" cy="6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38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3D245-C328-4DF7-A783-8218EBFA8BC7}" type="datetime1">
              <a:rPr lang="fi-FI" smtClean="0"/>
              <a:t>16.5.2022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>
          <a:xfrm>
            <a:off x="2534264" y="6356350"/>
            <a:ext cx="3335594" cy="365125"/>
          </a:xfrm>
        </p:spPr>
        <p:txBody>
          <a:bodyPr/>
          <a:lstStyle/>
          <a:p>
            <a:r>
              <a:rPr lang="fi-FI"/>
              <a:t>Esityksen nimi </a:t>
            </a:r>
          </a:p>
        </p:txBody>
      </p:sp>
      <p:sp>
        <p:nvSpPr>
          <p:cNvPr id="8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044380" y="6356350"/>
            <a:ext cx="103238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6E1F11F-5784-4242-B4C0-11AD36226CB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64352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7_Tekstidia: vain otsikk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D5EEE-C8B3-43A5-8984-4E9E998B8BE3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1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925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A_Otsikko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914400" y="1441652"/>
            <a:ext cx="10363200" cy="1470025"/>
          </a:xfrm>
        </p:spPr>
        <p:txBody>
          <a:bodyPr anchor="b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769205" y="3060000"/>
            <a:ext cx="8640000" cy="900000"/>
          </a:xfrm>
        </p:spPr>
        <p:txBody>
          <a:bodyPr/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3696000" y="4138846"/>
            <a:ext cx="4800000" cy="252000"/>
          </a:xfrm>
        </p:spPr>
        <p:txBody>
          <a:bodyPr lIns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5136000" y="4426838"/>
            <a:ext cx="1920000" cy="25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9F3CA18B-9E35-4533-979C-C6E5EEC99A99}" type="datetime1">
              <a:rPr lang="fi-FI" smtClean="0"/>
              <a:pPr/>
              <a:t>16.5.2022</a:t>
            </a:fld>
            <a:endParaRPr lang="fi-FI"/>
          </a:p>
        </p:txBody>
      </p:sp>
      <p:sp>
        <p:nvSpPr>
          <p:cNvPr id="10" name="Kuvan paikkamerkki 18"/>
          <p:cNvSpPr>
            <a:spLocks noGrp="1"/>
          </p:cNvSpPr>
          <p:nvPr>
            <p:ph type="pic" sz="quarter" idx="12" hasCustomPrompt="1"/>
          </p:nvPr>
        </p:nvSpPr>
        <p:spPr>
          <a:xfrm>
            <a:off x="480000" y="579600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sp>
        <p:nvSpPr>
          <p:cNvPr id="12" name="Kuvan paikkamerkki 18"/>
          <p:cNvSpPr>
            <a:spLocks noGrp="1"/>
          </p:cNvSpPr>
          <p:nvPr>
            <p:ph type="pic" sz="quarter" idx="13" hasCustomPrompt="1"/>
          </p:nvPr>
        </p:nvSpPr>
        <p:spPr>
          <a:xfrm>
            <a:off x="2708443" y="579499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sp>
        <p:nvSpPr>
          <p:cNvPr id="13" name="Kuvan paikkamerkki 18"/>
          <p:cNvSpPr>
            <a:spLocks noGrp="1"/>
          </p:cNvSpPr>
          <p:nvPr>
            <p:ph type="pic" sz="quarter" idx="14" hasCustomPrompt="1"/>
          </p:nvPr>
        </p:nvSpPr>
        <p:spPr>
          <a:xfrm>
            <a:off x="4930507" y="579499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pic>
        <p:nvPicPr>
          <p:cNvPr id="14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376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B_Otsikko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914400" y="1441652"/>
            <a:ext cx="10363200" cy="1470025"/>
          </a:xfrm>
        </p:spPr>
        <p:txBody>
          <a:bodyPr anchor="b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12" name="Alaotsikko 2"/>
          <p:cNvSpPr>
            <a:spLocks noGrp="1"/>
          </p:cNvSpPr>
          <p:nvPr>
            <p:ph type="subTitle" idx="1"/>
          </p:nvPr>
        </p:nvSpPr>
        <p:spPr>
          <a:xfrm>
            <a:off x="1762781" y="3060000"/>
            <a:ext cx="8640000" cy="900000"/>
          </a:xfrm>
        </p:spPr>
        <p:txBody>
          <a:bodyPr/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3696000" y="4140000"/>
            <a:ext cx="4800000" cy="252000"/>
          </a:xfrm>
        </p:spPr>
        <p:txBody>
          <a:bodyPr lIns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5136000" y="4428000"/>
            <a:ext cx="1920000" cy="252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9F3CA18B-9E35-4533-979C-C6E5EEC99A99}" type="datetime1">
              <a:rPr lang="fi-FI" smtClean="0"/>
              <a:pPr/>
              <a:t>16.5.2022</a:t>
            </a:fld>
            <a:endParaRPr lang="fi-FI"/>
          </a:p>
        </p:txBody>
      </p:sp>
      <p:sp>
        <p:nvSpPr>
          <p:cNvPr id="19" name="Kuvan paikkamerkki 18"/>
          <p:cNvSpPr>
            <a:spLocks noGrp="1"/>
          </p:cNvSpPr>
          <p:nvPr>
            <p:ph type="pic" sz="quarter" idx="12" hasCustomPrompt="1"/>
          </p:nvPr>
        </p:nvSpPr>
        <p:spPr>
          <a:xfrm>
            <a:off x="480000" y="579600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sp>
        <p:nvSpPr>
          <p:cNvPr id="20" name="Kuvan paikkamerkki 18"/>
          <p:cNvSpPr>
            <a:spLocks noGrp="1"/>
          </p:cNvSpPr>
          <p:nvPr>
            <p:ph type="pic" sz="quarter" idx="13" hasCustomPrompt="1"/>
          </p:nvPr>
        </p:nvSpPr>
        <p:spPr>
          <a:xfrm>
            <a:off x="2708443" y="579499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sp>
        <p:nvSpPr>
          <p:cNvPr id="21" name="Kuvan paikkamerkki 18"/>
          <p:cNvSpPr>
            <a:spLocks noGrp="1"/>
          </p:cNvSpPr>
          <p:nvPr>
            <p:ph type="pic" sz="quarter" idx="14" hasCustomPrompt="1"/>
          </p:nvPr>
        </p:nvSpPr>
        <p:spPr>
          <a:xfrm>
            <a:off x="4930507" y="5794991"/>
            <a:ext cx="1920000" cy="71913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logo</a:t>
            </a:r>
          </a:p>
        </p:txBody>
      </p:sp>
      <p:pic>
        <p:nvPicPr>
          <p:cNvPr id="17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821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ärillinen väli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7520126" y="616415"/>
            <a:ext cx="3933461" cy="1470025"/>
          </a:xfrm>
        </p:spPr>
        <p:txBody>
          <a:bodyPr wrap="square" anchor="t" anchorCtr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A8F801-9BF5-46D1-98A5-513B8005DAC3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2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985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A_kuvadia: tumma kuv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7520126" y="616415"/>
            <a:ext cx="3933461" cy="1470025"/>
          </a:xfrm>
        </p:spPr>
        <p:txBody>
          <a:bodyPr wrap="square" anchor="t" anchorCtr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A8F801-9BF5-46D1-98A5-513B8005DAC3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2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38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B_kuvadia: vaalea kuv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7520126" y="616415"/>
            <a:ext cx="3933461" cy="1470025"/>
          </a:xfrm>
        </p:spPr>
        <p:txBody>
          <a:bodyPr wrap="square" anchor="t" anchorCtr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A8F801-9BF5-46D1-98A5-513B8005DAC3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2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276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kstidia: yksipalstain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20000" y="1584000"/>
            <a:ext cx="10752000" cy="4140000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 wrap="none" rIns="0"/>
          <a:lstStyle>
            <a:lvl1pPr algn="l">
              <a:defRPr/>
            </a:lvl1pPr>
          </a:lstStyle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 wrap="none" rIns="0"/>
          <a:lstStyle/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 wrap="none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26D19E-78B6-4D02-8772-4056A94F9977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2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51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tähän</a:t>
            </a:r>
            <a:br>
              <a:rPr lang="fi-FI"/>
            </a:br>
            <a:r>
              <a:rPr lang="fi-FI"/>
              <a:t>esityksen</a:t>
            </a:r>
            <a:br>
              <a:rPr lang="fi-FI"/>
            </a:br>
            <a:r>
              <a:rPr lang="fi-FI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34887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8" name="Sisällön paikkamerkki 2">
            <a:extLst>
              <a:ext uri="{FF2B5EF4-FFF2-40B4-BE49-F238E27FC236}">
                <a16:creationId xmlns:a16="http://schemas.microsoft.com/office/drawing/2014/main" id="{A1C7D5EF-68BD-49A4-B0FC-CE9A359A776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19689182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ekstidia: kaksipalstain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720000" y="1584000"/>
            <a:ext cx="5232000" cy="4500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97600" y="1584000"/>
            <a:ext cx="5280000" cy="4500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111C6-550F-476F-A8E9-87059F984CC5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3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785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kstidia: yksip. väliotsikoll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0000" y="1584000"/>
            <a:ext cx="10752597" cy="360000"/>
          </a:xfrm>
        </p:spPr>
        <p:txBody>
          <a:bodyPr wrap="square"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720000" y="1980000"/>
            <a:ext cx="10752597" cy="3600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2FA39-4A70-4416-BD6A-317A14324BE2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3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503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ekstidia: vain otsikk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D5EEE-C8B3-43A5-8984-4E9E998B8BE3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1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42801"/>
            <a:ext cx="1627587" cy="8640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657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Tekstidia: tyhjä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tunimi Sukunimi</a:t>
            </a:r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356B9E0-AE4D-47F9-9DDE-55B177305E0F}" type="datetime1">
              <a:rPr lang="fi-FI" smtClean="0"/>
              <a:pPr/>
              <a:t>16.5.2022</a:t>
            </a:fld>
            <a:endParaRPr lang="fi-FI"/>
          </a:p>
        </p:txBody>
      </p:sp>
      <p:pic>
        <p:nvPicPr>
          <p:cNvPr id="10" name="Kuva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30400" y="5877273"/>
            <a:ext cx="1627587" cy="8640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07221" y="5580000"/>
            <a:ext cx="1435215" cy="111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25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äridia sininen">
    <p:bg>
      <p:bgPr>
        <a:solidFill>
          <a:srgbClr val="0070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58481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z="6600">
                <a:solidFill>
                  <a:schemeClr val="bg1"/>
                </a:solidFill>
              </a:rPr>
              <a:t>Värisivulla on erillinen nurkkaelementti, </a:t>
            </a:r>
            <a:br>
              <a:rPr lang="fi-FI" sz="6600">
                <a:solidFill>
                  <a:schemeClr val="bg1"/>
                </a:solidFill>
              </a:rPr>
            </a:br>
            <a:r>
              <a:rPr lang="fi-FI" sz="6600">
                <a:solidFill>
                  <a:schemeClr val="bg1"/>
                </a:solidFill>
              </a:rPr>
              <a:t>joka on värilaatikon päällä.</a:t>
            </a:r>
            <a:br>
              <a:rPr lang="fi-FI" sz="6600">
                <a:solidFill>
                  <a:schemeClr val="bg1"/>
                </a:solidFill>
              </a:rPr>
            </a:br>
            <a:br>
              <a:rPr lang="fi-FI" sz="4400">
                <a:solidFill>
                  <a:schemeClr val="bg1"/>
                </a:solidFill>
              </a:rPr>
            </a:br>
            <a:br>
              <a:rPr lang="fi-FI" sz="4400">
                <a:solidFill>
                  <a:schemeClr val="bg1"/>
                </a:solidFill>
              </a:rPr>
            </a:br>
            <a:r>
              <a:rPr lang="fi-FI" sz="4400">
                <a:solidFill>
                  <a:schemeClr val="bg1"/>
                </a:solidFill>
              </a:rPr>
              <a:t>Käytä sivua vain harkitusti lyhyissä</a:t>
            </a:r>
            <a:br>
              <a:rPr lang="fi-FI" sz="4400">
                <a:solidFill>
                  <a:schemeClr val="bg1"/>
                </a:solidFill>
              </a:rPr>
            </a:br>
            <a:r>
              <a:rPr lang="fi-FI" sz="4400">
                <a:solidFill>
                  <a:schemeClr val="bg1"/>
                </a:solidFill>
              </a:rPr>
              <a:t>informatiivisissa tekstinostoissa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6D480-8693-4F8A-9873-27DE202D0070}" type="datetime1">
              <a:rPr lang="fi-FI" smtClean="0"/>
              <a:t>16.5.2022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Esityksen nimi </a:t>
            </a:r>
          </a:p>
        </p:txBody>
      </p:sp>
    </p:spTree>
    <p:extLst>
      <p:ext uri="{BB962C8B-B14F-4D97-AF65-F5344CB8AC3E}">
        <p14:creationId xmlns:p14="http://schemas.microsoft.com/office/powerpoint/2010/main" val="803288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B343E-EDD0-4501-988B-9A386F4E06D4}" type="datetimeFigureOut">
              <a:rPr lang="fi-FI" smtClean="0"/>
              <a:pPr/>
              <a:t>16.5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10BCE-C936-43E6-9B11-F3CC9EFD4B4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609600" y="18000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endParaRPr lang="fi-FI"/>
          </a:p>
        </p:txBody>
      </p:sp>
      <p:sp>
        <p:nvSpPr>
          <p:cNvPr id="8" name="Text"/>
          <p:cNvSpPr>
            <a:spLocks noGrp="1"/>
          </p:cNvSpPr>
          <p:nvPr>
            <p:ph type="body" sz="quarter" idx="13"/>
          </p:nvPr>
        </p:nvSpPr>
        <p:spPr>
          <a:xfrm>
            <a:off x="609600" y="3059999"/>
            <a:ext cx="10972800" cy="1620000"/>
          </a:xfrm>
        </p:spPr>
        <p:txBody>
          <a:bodyPr/>
          <a:lstStyle/>
          <a:p>
            <a:pPr lvl="0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4688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B343E-EDD0-4501-988B-9A386F4E06D4}" type="datetimeFigureOut">
              <a:rPr lang="fi-FI" smtClean="0"/>
              <a:pPr/>
              <a:t>16.5.2022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10BCE-C936-43E6-9B11-F3CC9EFD4B4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609600" y="332656"/>
            <a:ext cx="10972800" cy="720080"/>
          </a:xfrm>
        </p:spPr>
        <p:txBody>
          <a:bodyPr/>
          <a:lstStyle>
            <a:lvl1pPr algn="l">
              <a:defRPr/>
            </a:lvl1pPr>
          </a:lstStyle>
          <a:p>
            <a:endParaRPr lang="fi-FI"/>
          </a:p>
        </p:txBody>
      </p:sp>
      <p:sp>
        <p:nvSpPr>
          <p:cNvPr id="7" name="Text"/>
          <p:cNvSpPr>
            <a:spLocks noGrp="1"/>
          </p:cNvSpPr>
          <p:nvPr>
            <p:ph type="body" sz="quarter" idx="13"/>
          </p:nvPr>
        </p:nvSpPr>
        <p:spPr>
          <a:xfrm>
            <a:off x="609600" y="1125537"/>
            <a:ext cx="10972800" cy="540000"/>
          </a:xfrm>
        </p:spPr>
        <p:txBody>
          <a:bodyPr/>
          <a:lstStyle>
            <a:lvl1pPr marL="0" indent="0" algn="l">
              <a:buNone/>
              <a:defRPr baseline="0"/>
            </a:lvl1pPr>
          </a:lstStyle>
          <a:p>
            <a:pPr lvl="0"/>
            <a:endParaRPr lang="fi-FI"/>
          </a:p>
        </p:txBody>
      </p:sp>
      <p:sp>
        <p:nvSpPr>
          <p:cNvPr id="8" name="Chart"/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" y="1773238"/>
            <a:ext cx="10972800" cy="446405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 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28471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BBB1F-30A7-4D47-B372-846E5E25D922}" type="datetime1">
              <a:rPr lang="fi-FI" smtClean="0"/>
              <a:t>16.5.2022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2534264" y="6356350"/>
            <a:ext cx="3335594" cy="365125"/>
          </a:xfrm>
        </p:spPr>
        <p:txBody>
          <a:bodyPr/>
          <a:lstStyle/>
          <a:p>
            <a:r>
              <a:rPr lang="fi-FI"/>
              <a:t>Esityksen nimi 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044380" y="6356350"/>
            <a:ext cx="103238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6E1F11F-5784-4242-B4C0-11AD36226CB3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454330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992922" y="6358917"/>
            <a:ext cx="3220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11" name="Sisällön paikkamerkki 2">
            <a:extLst>
              <a:ext uri="{FF2B5EF4-FFF2-40B4-BE49-F238E27FC236}">
                <a16:creationId xmlns:a16="http://schemas.microsoft.com/office/drawing/2014/main" id="{9657465F-EE4B-4F9A-BBC7-773C2B91B28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25115466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34887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8" name="Sisällön paikkamerkki 2">
            <a:extLst>
              <a:ext uri="{FF2B5EF4-FFF2-40B4-BE49-F238E27FC236}">
                <a16:creationId xmlns:a16="http://schemas.microsoft.com/office/drawing/2014/main" id="{A1C7D5EF-68BD-49A4-B0FC-CE9A359A776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28178541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335DAD42-158F-45A6-932E-083E2D32E0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7455" y="6383606"/>
            <a:ext cx="1683000" cy="316800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B964CA97-8F67-45A6-958A-FA70EA4AF8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29651" y="2281969"/>
            <a:ext cx="5371113" cy="2779834"/>
          </a:xfrm>
        </p:spPr>
        <p:txBody>
          <a:bodyPr anchor="b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tähän</a:t>
            </a:r>
            <a:br>
              <a:rPr lang="fi-FI"/>
            </a:br>
            <a:r>
              <a:rPr lang="fi-FI"/>
              <a:t>esityksen</a:t>
            </a:r>
            <a:br>
              <a:rPr lang="fi-FI"/>
            </a:br>
            <a:r>
              <a:rPr lang="fi-FI"/>
              <a:t>väliotsikko</a:t>
            </a:r>
          </a:p>
        </p:txBody>
      </p:sp>
      <p:sp>
        <p:nvSpPr>
          <p:cNvPr id="10" name="Alaotsikko 2">
            <a:extLst>
              <a:ext uri="{FF2B5EF4-FFF2-40B4-BE49-F238E27FC236}">
                <a16:creationId xmlns:a16="http://schemas.microsoft.com/office/drawing/2014/main" id="{B9F12C14-B546-40CA-B361-3AAC962DDDB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29651" y="5153878"/>
            <a:ext cx="5371113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Lisää tarkentava alaotsikko</a:t>
            </a:r>
          </a:p>
        </p:txBody>
      </p:sp>
    </p:spTree>
    <p:extLst>
      <p:ext uri="{BB962C8B-B14F-4D97-AF65-F5344CB8AC3E}">
        <p14:creationId xmlns:p14="http://schemas.microsoft.com/office/powerpoint/2010/main" val="1944910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335DAD42-158F-45A6-932E-083E2D32E0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7455" y="6383606"/>
            <a:ext cx="1683000" cy="316800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B964CA97-8F67-45A6-958A-FA70EA4AF8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29651" y="2281969"/>
            <a:ext cx="5371113" cy="2779834"/>
          </a:xfrm>
        </p:spPr>
        <p:txBody>
          <a:bodyPr anchor="b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väliotsikko</a:t>
            </a:r>
          </a:p>
        </p:txBody>
      </p:sp>
      <p:sp>
        <p:nvSpPr>
          <p:cNvPr id="10" name="Alaotsikko 2">
            <a:extLst>
              <a:ext uri="{FF2B5EF4-FFF2-40B4-BE49-F238E27FC236}">
                <a16:creationId xmlns:a16="http://schemas.microsoft.com/office/drawing/2014/main" id="{B9F12C14-B546-40CA-B361-3AAC962DDDB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29651" y="5153878"/>
            <a:ext cx="5371113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</p:spTree>
    <p:extLst>
      <p:ext uri="{BB962C8B-B14F-4D97-AF65-F5344CB8AC3E}">
        <p14:creationId xmlns:p14="http://schemas.microsoft.com/office/powerpoint/2010/main" val="29767811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idia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1D6E40F-4F95-4C84-894B-1E4BF325D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13D4FB9-5451-4BAA-BC04-78718B90D0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  <a:defRPr lang="fi-FI" dirty="0" smtClean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88520525-1B92-4941-8F99-201A49DCED9C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A4A79C5D-00B9-4C04-8E37-F7B15ADF68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730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</p:spTree>
    <p:extLst>
      <p:ext uri="{BB962C8B-B14F-4D97-AF65-F5344CB8AC3E}">
        <p14:creationId xmlns:p14="http://schemas.microsoft.com/office/powerpoint/2010/main" val="42144962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BAB7A308-335C-44EB-95CE-90614D802D84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7C78D123-A297-420D-BC70-3C86BF3D8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C989B7E-418F-4058-9902-61FF8CEFE7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4377" y="590468"/>
            <a:ext cx="2674286" cy="27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79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BAB7A308-335C-44EB-95CE-90614D802D84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7C78D123-A297-420D-BC70-3C86BF3D8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6F60F58B-247E-4CA3-8BBC-6D603C2F62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4377" y="590468"/>
            <a:ext cx="2674286" cy="27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173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A682C29F-A410-490B-B51A-8526A70F643D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F7E79F99-68B5-4112-BA2C-1ABFB3999B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A90BC90E-8FC9-4E21-ABB8-714A3B9B6C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51796" y="533713"/>
            <a:ext cx="2217414" cy="265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6409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BC091D9-2F73-4C7B-B96D-7FED3242FB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72294"/>
            <a:ext cx="5181600" cy="1325563"/>
          </a:xfrm>
        </p:spPr>
        <p:txBody>
          <a:bodyPr/>
          <a:lstStyle>
            <a:lvl1pPr>
              <a:defRPr sz="2800"/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514DCB1-8EC7-4988-B7E8-36F3A19B656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032794"/>
            <a:ext cx="5181600" cy="3854739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i-FI" dirty="0"/>
              <a:t>Lisää tekstiä korkeintaan 11 riviä.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6A906C84-D9F2-46A1-A755-AD1E319AD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571" b="7983"/>
          <a:stretch/>
        </p:blipFill>
        <p:spPr>
          <a:xfrm>
            <a:off x="11353800" y="6168701"/>
            <a:ext cx="838200" cy="689299"/>
          </a:xfrm>
          <a:prstGeom prst="rect">
            <a:avLst/>
          </a:prstGeom>
        </p:spPr>
      </p:pic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EDC1F07A-1401-4C44-BF5F-B1957E3B567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723526" y="0"/>
            <a:ext cx="5468474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fi-FI" dirty="0"/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3D650AEC-DA21-40AB-9A38-3993E4E6AE3D}"/>
              </a:ext>
            </a:extLst>
          </p:cNvPr>
          <p:cNvSpPr txBox="1"/>
          <p:nvPr userDrawn="1"/>
        </p:nvSpPr>
        <p:spPr>
          <a:xfrm>
            <a:off x="838200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</p:spTree>
    <p:extLst>
      <p:ext uri="{BB962C8B-B14F-4D97-AF65-F5344CB8AC3E}">
        <p14:creationId xmlns:p14="http://schemas.microsoft.com/office/powerpoint/2010/main" val="4846738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59C0E992-CF28-4874-99F7-4F18B0E22E6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488562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itos!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92B69210-5321-4AB2-B9EB-DEBA4DD6A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8" y="5285509"/>
            <a:ext cx="3429932" cy="645634"/>
          </a:xfrm>
          <a:prstGeom prst="rect">
            <a:avLst/>
          </a:prstGeom>
        </p:spPr>
      </p:pic>
      <p:pic>
        <p:nvPicPr>
          <p:cNvPr id="2" name="Kuva 1">
            <a:extLst>
              <a:ext uri="{FF2B5EF4-FFF2-40B4-BE49-F238E27FC236}">
                <a16:creationId xmlns:a16="http://schemas.microsoft.com/office/drawing/2014/main" id="{D26A8772-2014-4E73-A749-6BE5143EE8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81582" y="2827311"/>
            <a:ext cx="2594610" cy="3103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4327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Kiitos!</a:t>
            </a: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A76F2118-8D4E-459E-B056-E1100F6D00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81582" y="2827311"/>
            <a:ext cx="2594081" cy="3103200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1F7FBB61-D664-4CD1-A700-DD7BF40961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4887" y="5286126"/>
            <a:ext cx="3423375" cy="6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63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idia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1D6E40F-4F95-4C84-894B-1E4BF325D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otsikko tähän</a:t>
            </a:r>
            <a:br>
              <a:rPr lang="fi-FI"/>
            </a:br>
            <a:r>
              <a:rPr lang="fi-FI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13D4FB9-5451-4BAA-BC04-78718B90D0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88520525-1B92-4941-8F99-201A49DCED9C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A4A79C5D-00B9-4C04-8E37-F7B15ADF68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386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992922" y="6358917"/>
            <a:ext cx="3220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11" name="Sisällön paikkamerkki 2">
            <a:extLst>
              <a:ext uri="{FF2B5EF4-FFF2-40B4-BE49-F238E27FC236}">
                <a16:creationId xmlns:a16="http://schemas.microsoft.com/office/drawing/2014/main" id="{9657465F-EE4B-4F9A-BBC7-773C2B91B28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355867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ää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35193A9-2D1F-4DD2-AE8B-6F22B250A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81969"/>
            <a:ext cx="7461250" cy="2779834"/>
          </a:xfrm>
        </p:spPr>
        <p:txBody>
          <a:bodyPr anchor="b"/>
          <a:lstStyle>
            <a:lvl1pPr algn="l">
              <a:defRPr sz="66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pää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7A02DB69-9758-4DD4-B147-1F88D413E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4887" y="5153878"/>
            <a:ext cx="7461250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1778568D-2A9E-45DB-84AB-2065787551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7" y="1147241"/>
            <a:ext cx="3423375" cy="644400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A20326C3-75FE-4F5E-9861-B0BAFD65F168}"/>
              </a:ext>
            </a:extLst>
          </p:cNvPr>
          <p:cNvSpPr txBox="1"/>
          <p:nvPr userDrawn="1"/>
        </p:nvSpPr>
        <p:spPr>
          <a:xfrm>
            <a:off x="834887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sp>
        <p:nvSpPr>
          <p:cNvPr id="8" name="Sisällön paikkamerkki 2">
            <a:extLst>
              <a:ext uri="{FF2B5EF4-FFF2-40B4-BE49-F238E27FC236}">
                <a16:creationId xmlns:a16="http://schemas.microsoft.com/office/drawing/2014/main" id="{A1C7D5EF-68BD-49A4-B0FC-CE9A359A776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4887" y="384314"/>
            <a:ext cx="6756400" cy="403160"/>
          </a:xfrm>
        </p:spPr>
        <p:txBody>
          <a:bodyPr/>
          <a:lstStyle>
            <a:lvl1pPr>
              <a:buNone/>
              <a:defRPr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xx.xx.2021</a:t>
            </a:r>
          </a:p>
        </p:txBody>
      </p:sp>
    </p:spTree>
    <p:extLst>
      <p:ext uri="{BB962C8B-B14F-4D97-AF65-F5344CB8AC3E}">
        <p14:creationId xmlns:p14="http://schemas.microsoft.com/office/powerpoint/2010/main" val="7170428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335DAD42-158F-45A6-932E-083E2D32E0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7455" y="6383606"/>
            <a:ext cx="1683000" cy="316800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B964CA97-8F67-45A6-958A-FA70EA4AF8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29651" y="2281969"/>
            <a:ext cx="5371113" cy="2779834"/>
          </a:xfrm>
        </p:spPr>
        <p:txBody>
          <a:bodyPr anchor="b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</a:t>
            </a:r>
            <a:br>
              <a:rPr lang="fi-FI" dirty="0"/>
            </a:br>
            <a:r>
              <a:rPr lang="fi-FI" dirty="0"/>
              <a:t>esityksen</a:t>
            </a:r>
            <a:br>
              <a:rPr lang="fi-FI" dirty="0"/>
            </a:br>
            <a:r>
              <a:rPr lang="fi-FI" dirty="0"/>
              <a:t>väliotsikko</a:t>
            </a:r>
          </a:p>
        </p:txBody>
      </p:sp>
      <p:sp>
        <p:nvSpPr>
          <p:cNvPr id="10" name="Alaotsikko 2">
            <a:extLst>
              <a:ext uri="{FF2B5EF4-FFF2-40B4-BE49-F238E27FC236}">
                <a16:creationId xmlns:a16="http://schemas.microsoft.com/office/drawing/2014/main" id="{B9F12C14-B546-40CA-B361-3AAC962DDDB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29651" y="5153878"/>
            <a:ext cx="5371113" cy="84527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Lisää tarkentava alaotsikko</a:t>
            </a:r>
          </a:p>
        </p:txBody>
      </p:sp>
    </p:spTree>
    <p:extLst>
      <p:ext uri="{BB962C8B-B14F-4D97-AF65-F5344CB8AC3E}">
        <p14:creationId xmlns:p14="http://schemas.microsoft.com/office/powerpoint/2010/main" val="42822006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idia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1D6E40F-4F95-4C84-894B-1E4BF325DE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13D4FB9-5451-4BAA-BC04-78718B90D0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  <a:defRPr lang="fi-FI" dirty="0" smtClean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88520525-1B92-4941-8F99-201A49DCED9C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A4A79C5D-00B9-4C04-8E37-F7B15ADF68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7932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</p:spTree>
    <p:extLst>
      <p:ext uri="{BB962C8B-B14F-4D97-AF65-F5344CB8AC3E}">
        <p14:creationId xmlns:p14="http://schemas.microsoft.com/office/powerpoint/2010/main" val="19161351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BAB7A308-335C-44EB-95CE-90614D802D84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7C78D123-A297-420D-BC70-3C86BF3D8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C989B7E-418F-4058-9902-61FF8CEFE7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4377" y="590468"/>
            <a:ext cx="2674286" cy="27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582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BAB7A308-335C-44EB-95CE-90614D802D84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7C78D123-A297-420D-BC70-3C86BF3D8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6F60F58B-247E-4CA3-8BBC-6D603C2F62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4377" y="590468"/>
            <a:ext cx="2674286" cy="27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8771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/>
              <a:t>Tekstiä korkeintaan seitsemän riviä. Jatka tarvittaessa uudelle dialle.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A682C29F-A410-490B-B51A-8526A70F643D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F7E79F99-68B5-4112-BA2C-1ABFB3999B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A90BC90E-8FC9-4E21-ABB8-714A3B9B6C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51796" y="533713"/>
            <a:ext cx="2217414" cy="265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3603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BC091D9-2F73-4C7B-B96D-7FED3242FB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72294"/>
            <a:ext cx="5181600" cy="1325563"/>
          </a:xfrm>
        </p:spPr>
        <p:txBody>
          <a:bodyPr/>
          <a:lstStyle>
            <a:lvl1pPr>
              <a:defRPr sz="2800"/>
            </a:lvl1pPr>
          </a:lstStyle>
          <a:p>
            <a:r>
              <a:rPr lang="fi-FI" dirty="0"/>
              <a:t>Lisää otsikko tähän</a:t>
            </a:r>
            <a:br>
              <a:rPr lang="fi-FI" dirty="0"/>
            </a:br>
            <a:r>
              <a:rPr lang="fi-FI" dirty="0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514DCB1-8EC7-4988-B7E8-36F3A19B656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2032794"/>
            <a:ext cx="5181600" cy="3854739"/>
          </a:xfrm>
        </p:spPr>
        <p:txBody>
          <a:bodyPr/>
          <a:lstStyle>
            <a:lvl1pPr>
              <a:buFont typeface="Arial" panose="020B0604020202020204" pitchFamily="34" charset="0"/>
              <a:buChar char="•"/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i-FI" dirty="0"/>
              <a:t>Lisää tekstiä korkeintaan 11 riviä.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6A906C84-D9F2-46A1-A755-AD1E319AD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571" b="7983"/>
          <a:stretch/>
        </p:blipFill>
        <p:spPr>
          <a:xfrm>
            <a:off x="11353800" y="6168701"/>
            <a:ext cx="838200" cy="689299"/>
          </a:xfrm>
          <a:prstGeom prst="rect">
            <a:avLst/>
          </a:prstGeom>
        </p:spPr>
      </p:pic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EDC1F07A-1401-4C44-BF5F-B1957E3B567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723526" y="0"/>
            <a:ext cx="5468474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kuva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3D650AEC-DA21-40AB-9A38-3993E4E6AE3D}"/>
              </a:ext>
            </a:extLst>
          </p:cNvPr>
          <p:cNvSpPr txBox="1"/>
          <p:nvPr userDrawn="1"/>
        </p:nvSpPr>
        <p:spPr>
          <a:xfrm>
            <a:off x="838200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</p:spTree>
    <p:extLst>
      <p:ext uri="{BB962C8B-B14F-4D97-AF65-F5344CB8AC3E}">
        <p14:creationId xmlns:p14="http://schemas.microsoft.com/office/powerpoint/2010/main" val="28592613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59C0E992-CF28-4874-99F7-4F18B0E22E6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Lisää kuva</a:t>
            </a:r>
          </a:p>
        </p:txBody>
      </p:sp>
    </p:spTree>
    <p:extLst>
      <p:ext uri="{BB962C8B-B14F-4D97-AF65-F5344CB8AC3E}">
        <p14:creationId xmlns:p14="http://schemas.microsoft.com/office/powerpoint/2010/main" val="1584882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otsikko tähän</a:t>
            </a:r>
            <a:br>
              <a:rPr lang="fi-FI"/>
            </a:br>
            <a:r>
              <a:rPr lang="fi-FI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8726414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itos!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92B69210-5321-4AB2-B9EB-DEBA4DD6A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888" y="5285509"/>
            <a:ext cx="3429932" cy="645634"/>
          </a:xfrm>
          <a:prstGeom prst="rect">
            <a:avLst/>
          </a:prstGeom>
        </p:spPr>
      </p:pic>
      <p:pic>
        <p:nvPicPr>
          <p:cNvPr id="2" name="Kuva 1">
            <a:extLst>
              <a:ext uri="{FF2B5EF4-FFF2-40B4-BE49-F238E27FC236}">
                <a16:creationId xmlns:a16="http://schemas.microsoft.com/office/drawing/2014/main" id="{D26A8772-2014-4E73-A749-6BE5143EE8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81582" y="2827311"/>
            <a:ext cx="2594610" cy="3103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5349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>
            <a:extLst>
              <a:ext uri="{FF2B5EF4-FFF2-40B4-BE49-F238E27FC236}">
                <a16:creationId xmlns:a16="http://schemas.microsoft.com/office/drawing/2014/main" id="{B55861FD-A4CA-43C8-B182-CE620585B5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4887" y="2261472"/>
            <a:ext cx="9144000" cy="2335056"/>
          </a:xfrm>
        </p:spPr>
        <p:txBody>
          <a:bodyPr anchor="ctr"/>
          <a:lstStyle>
            <a:lvl1pPr algn="l">
              <a:defRPr sz="9600">
                <a:solidFill>
                  <a:srgbClr val="0089D0"/>
                </a:solidFill>
              </a:defRPr>
            </a:lvl1pPr>
          </a:lstStyle>
          <a:p>
            <a:r>
              <a:rPr lang="fi-FI" dirty="0"/>
              <a:t>Kiitos!</a:t>
            </a: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A76F2118-8D4E-459E-B056-E1100F6D00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81582" y="2827311"/>
            <a:ext cx="2594081" cy="3103200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1F7FBB61-D664-4CD1-A700-DD7BF40961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4887" y="5286126"/>
            <a:ext cx="3423375" cy="6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46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otsikko tähän</a:t>
            </a:r>
            <a:br>
              <a:rPr lang="fi-FI"/>
            </a:br>
            <a:r>
              <a:rPr lang="fi-FI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2" name="Kuva 1">
            <a:extLst>
              <a:ext uri="{FF2B5EF4-FFF2-40B4-BE49-F238E27FC236}">
                <a16:creationId xmlns:a16="http://schemas.microsoft.com/office/drawing/2014/main" id="{8A800572-F0F6-475F-9202-A9F40D9C3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22344" y="590468"/>
            <a:ext cx="2676319" cy="2735268"/>
          </a:xfrm>
          <a:prstGeom prst="rect">
            <a:avLst/>
          </a:prstGeom>
        </p:spPr>
      </p:pic>
      <p:sp>
        <p:nvSpPr>
          <p:cNvPr id="8" name="Tekstiruutu 7">
            <a:extLst>
              <a:ext uri="{FF2B5EF4-FFF2-40B4-BE49-F238E27FC236}">
                <a16:creationId xmlns:a16="http://schemas.microsoft.com/office/drawing/2014/main" id="{BAB7A308-335C-44EB-95CE-90614D802D84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7C78D123-A297-420D-BC70-3C86BF3D8A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977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idia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1">
            <a:extLst>
              <a:ext uri="{FF2B5EF4-FFF2-40B4-BE49-F238E27FC236}">
                <a16:creationId xmlns:a16="http://schemas.microsoft.com/office/drawing/2014/main" id="{BE95C437-0259-4E2A-AEBE-D554BDB8B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377764"/>
            <a:ext cx="6756400" cy="1500936"/>
          </a:xfrm>
        </p:spPr>
        <p:txBody>
          <a:bodyPr anchor="b"/>
          <a:lstStyle>
            <a:lvl1pPr>
              <a:defRPr sz="48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otsikko tähän</a:t>
            </a:r>
            <a:br>
              <a:rPr lang="fi-FI"/>
            </a:br>
            <a:r>
              <a:rPr lang="fi-FI"/>
              <a:t>Lisää otsikko tähän</a:t>
            </a:r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1903BD7D-E22F-4134-8D08-705EE70BF2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013636"/>
            <a:ext cx="6756400" cy="24161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A682C29F-A410-490B-B51A-8526A70F643D}"/>
              </a:ext>
            </a:extLst>
          </p:cNvPr>
          <p:cNvSpPr txBox="1"/>
          <p:nvPr userDrawn="1"/>
        </p:nvSpPr>
        <p:spPr>
          <a:xfrm>
            <a:off x="6961422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F7E79F99-68B5-4112-BA2C-1ABFB3999B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4733" b="14352"/>
          <a:stretch/>
        </p:blipFill>
        <p:spPr>
          <a:xfrm>
            <a:off x="9524775" y="4788591"/>
            <a:ext cx="2667225" cy="2069410"/>
          </a:xfrm>
          <a:prstGeom prst="rect">
            <a:avLst/>
          </a:prstGeom>
        </p:spPr>
      </p:pic>
      <p:pic>
        <p:nvPicPr>
          <p:cNvPr id="11" name="Kuva 10">
            <a:extLst>
              <a:ext uri="{FF2B5EF4-FFF2-40B4-BE49-F238E27FC236}">
                <a16:creationId xmlns:a16="http://schemas.microsoft.com/office/drawing/2014/main" id="{A90BC90E-8FC9-4E21-ABB8-714A3B9B6C2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51796" y="533713"/>
            <a:ext cx="2217414" cy="265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002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BC091D9-2F73-4C7B-B96D-7FED3242FB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72294"/>
            <a:ext cx="5181600" cy="1325563"/>
          </a:xfrm>
        </p:spPr>
        <p:txBody>
          <a:bodyPr/>
          <a:lstStyle>
            <a:lvl1pPr>
              <a:defRPr sz="2800"/>
            </a:lvl1pPr>
          </a:lstStyle>
          <a:p>
            <a:r>
              <a:rPr lang="fi-FI"/>
              <a:t>Lisää otsikko tähän</a:t>
            </a:r>
            <a:br>
              <a:rPr lang="fi-FI"/>
            </a:br>
            <a:r>
              <a:rPr lang="fi-FI"/>
              <a:t>Lisää otsikko tähä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514DCB1-8EC7-4988-B7E8-36F3A19B65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32794"/>
            <a:ext cx="5181600" cy="3854739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6A906C84-D9F2-46A1-A755-AD1E319AD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3571" b="7983"/>
          <a:stretch/>
        </p:blipFill>
        <p:spPr>
          <a:xfrm>
            <a:off x="11353800" y="6168701"/>
            <a:ext cx="838200" cy="689299"/>
          </a:xfrm>
          <a:prstGeom prst="rect">
            <a:avLst/>
          </a:prstGeom>
        </p:spPr>
      </p:pic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EDC1F07A-1401-4C44-BF5F-B1957E3B567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723526" y="0"/>
            <a:ext cx="5468474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kuva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3D650AEC-DA21-40AB-9A38-3993E4E6AE3D}"/>
              </a:ext>
            </a:extLst>
          </p:cNvPr>
          <p:cNvSpPr txBox="1"/>
          <p:nvPr userDrawn="1"/>
        </p:nvSpPr>
        <p:spPr>
          <a:xfrm>
            <a:off x="838200" y="6358917"/>
            <a:ext cx="2926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rgbClr val="8CC63F"/>
                </a:solidFill>
                <a:latin typeface="Lato Black" panose="020F0A02020204030203" pitchFamily="34" charset="0"/>
              </a:rPr>
              <a:t>www.ylasavonsote.fi</a:t>
            </a:r>
          </a:p>
        </p:txBody>
      </p:sp>
    </p:spTree>
    <p:extLst>
      <p:ext uri="{BB962C8B-B14F-4D97-AF65-F5344CB8AC3E}">
        <p14:creationId xmlns:p14="http://schemas.microsoft.com/office/powerpoint/2010/main" val="615332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>
            <a:extLst>
              <a:ext uri="{FF2B5EF4-FFF2-40B4-BE49-F238E27FC236}">
                <a16:creationId xmlns:a16="http://schemas.microsoft.com/office/drawing/2014/main" id="{59C0E992-CF28-4874-99F7-4F18B0E22E6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 sz="1200">
                <a:solidFill>
                  <a:srgbClr val="0089D0"/>
                </a:solidFill>
              </a:defRPr>
            </a:lvl1pPr>
          </a:lstStyle>
          <a:p>
            <a:r>
              <a:rPr lang="fi-FI"/>
              <a:t>Lisää kuva</a:t>
            </a:r>
          </a:p>
        </p:txBody>
      </p:sp>
    </p:spTree>
    <p:extLst>
      <p:ext uri="{BB962C8B-B14F-4D97-AF65-F5344CB8AC3E}">
        <p14:creationId xmlns:p14="http://schemas.microsoft.com/office/powerpoint/2010/main" val="1279250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0B792D56-EDE7-4335-9E09-7321A699C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15FA37A-13D2-44B0-8EEB-1583A9C638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187939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2" r:id="rId3"/>
    <p:sldLayoutId id="2147483650" r:id="rId4"/>
    <p:sldLayoutId id="2147483661" r:id="rId5"/>
    <p:sldLayoutId id="2147483664" r:id="rId6"/>
    <p:sldLayoutId id="2147483665" r:id="rId7"/>
    <p:sldLayoutId id="2147483652" r:id="rId8"/>
    <p:sldLayoutId id="2147483656" r:id="rId9"/>
    <p:sldLayoutId id="2147483660" r:id="rId10"/>
    <p:sldLayoutId id="2147483663" r:id="rId11"/>
    <p:sldLayoutId id="2147483667" r:id="rId12"/>
    <p:sldLayoutId id="214748366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89D0"/>
          </a:solidFill>
          <a:latin typeface="Lato Black" panose="020F0A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720000" y="612000"/>
            <a:ext cx="107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0000" y="1584000"/>
            <a:ext cx="10752000" cy="41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252183" y="6309320"/>
            <a:ext cx="576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A4837A0-F8B5-40DF-B7A3-2778985E985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872040" y="6309320"/>
            <a:ext cx="2640000" cy="36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3555045" y="6309320"/>
            <a:ext cx="144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21B48D5-7DCF-4B12-8FC3-76BB2D33A198}" type="datetime1">
              <a:rPr lang="fi-FI" smtClean="0"/>
              <a:pPr/>
              <a:t>16.5.202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5782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0B792D56-EDE7-4335-9E09-7321A699C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15FA37A-13D2-44B0-8EEB-1583A9C638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Lisää tekstiä korkeintaan seitsemän riviä.</a:t>
            </a:r>
          </a:p>
          <a:p>
            <a:pPr lvl="0"/>
            <a:r>
              <a:rPr lang="fi-FI" dirty="0"/>
              <a:t>Jatka tarvittaessa seuraavalle dialle.</a:t>
            </a:r>
          </a:p>
        </p:txBody>
      </p:sp>
    </p:spTree>
    <p:extLst>
      <p:ext uri="{BB962C8B-B14F-4D97-AF65-F5344CB8AC3E}">
        <p14:creationId xmlns:p14="http://schemas.microsoft.com/office/powerpoint/2010/main" val="365276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89D0"/>
          </a:solidFill>
          <a:latin typeface="Lato Black" panose="020F0A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0B792D56-EDE7-4335-9E09-7321A699C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15FA37A-13D2-44B0-8EEB-1583A9C638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Lisää tekstiä korkeintaan seitsemän riviä.</a:t>
            </a:r>
          </a:p>
          <a:p>
            <a:pPr lvl="0"/>
            <a:r>
              <a:rPr lang="fi-FI" dirty="0"/>
              <a:t>Jatka tarvittaessa seuraavalle dialle.</a:t>
            </a:r>
          </a:p>
        </p:txBody>
      </p:sp>
    </p:spTree>
    <p:extLst>
      <p:ext uri="{BB962C8B-B14F-4D97-AF65-F5344CB8AC3E}">
        <p14:creationId xmlns:p14="http://schemas.microsoft.com/office/powerpoint/2010/main" val="2219963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89D0"/>
          </a:solidFill>
          <a:latin typeface="Lato Black" panose="020F0A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6.png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btmalli.fi/" TargetMode="Externa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4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svg"/><Relationship Id="rId7" Type="http://schemas.openxmlformats.org/officeDocument/2006/relationships/image" Target="../media/image69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sv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sv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sv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orakulmio 14"/>
          <p:cNvSpPr/>
          <p:nvPr/>
        </p:nvSpPr>
        <p:spPr>
          <a:xfrm>
            <a:off x="2592947" y="5794991"/>
            <a:ext cx="2854982" cy="718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tsikko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>
                <a:solidFill>
                  <a:schemeClr val="bg1"/>
                </a:solidFill>
              </a:rPr>
              <a:t>Digikehittämistä tekemiseen!</a:t>
            </a:r>
          </a:p>
        </p:txBody>
      </p:sp>
      <p:sp>
        <p:nvSpPr>
          <p:cNvPr id="8" name="Alaotsikko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solidFill>
                  <a:schemeClr val="bg1"/>
                </a:solidFill>
              </a:rPr>
              <a:t>Digitaalisen osaamisen lisääminen palvelujen kehittämiseksi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3717966" y="4390846"/>
            <a:ext cx="4742478" cy="77323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- ja tietohallintojohtaja Mika Ålan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Projektipäällikkö Juha Jalkanen)</a:t>
            </a:r>
          </a:p>
        </p:txBody>
      </p:sp>
      <p:pic>
        <p:nvPicPr>
          <p:cNvPr id="13" name="Kuvan paikkamerkki 12"/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" r="3293"/>
          <a:stretch>
            <a:fillRect/>
          </a:stretch>
        </p:blipFill>
        <p:spPr/>
      </p:pic>
      <p:pic>
        <p:nvPicPr>
          <p:cNvPr id="14" name="Kuvan paikkamerkki 1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76" r="-7629"/>
          <a:stretch/>
        </p:blipFill>
        <p:spPr>
          <a:xfrm>
            <a:off x="2786340" y="5945515"/>
            <a:ext cx="2468195" cy="417790"/>
          </a:xfrm>
        </p:spPr>
      </p:pic>
      <p:sp>
        <p:nvSpPr>
          <p:cNvPr id="2" name="Suorakulmio 1"/>
          <p:cNvSpPr/>
          <p:nvPr/>
        </p:nvSpPr>
        <p:spPr>
          <a:xfrm>
            <a:off x="8760296" y="5794991"/>
            <a:ext cx="1440160" cy="9463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uorakulmio 2"/>
          <p:cNvSpPr/>
          <p:nvPr/>
        </p:nvSpPr>
        <p:spPr>
          <a:xfrm>
            <a:off x="10272465" y="5517232"/>
            <a:ext cx="1728192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uorakulmio 5"/>
          <p:cNvSpPr/>
          <p:nvPr/>
        </p:nvSpPr>
        <p:spPr>
          <a:xfrm>
            <a:off x="10452485" y="5497504"/>
            <a:ext cx="1368151" cy="1325240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uorakulmio 11"/>
          <p:cNvSpPr/>
          <p:nvPr/>
        </p:nvSpPr>
        <p:spPr>
          <a:xfrm>
            <a:off x="8760296" y="5877272"/>
            <a:ext cx="1440160" cy="864096"/>
          </a:xfrm>
          <a:prstGeom prst="rect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äivämäärän paikkamerkki 3">
            <a:extLst>
              <a:ext uri="{FF2B5EF4-FFF2-40B4-BE49-F238E27FC236}">
                <a16:creationId xmlns:a16="http://schemas.microsoft.com/office/drawing/2014/main" id="{DB25F600-8DE2-400F-A5FD-CCA65A4E296E}"/>
              </a:ext>
            </a:extLst>
          </p:cNvPr>
          <p:cNvSpPr txBox="1">
            <a:spLocks/>
          </p:cNvSpPr>
          <p:nvPr/>
        </p:nvSpPr>
        <p:spPr>
          <a:xfrm>
            <a:off x="3540166" y="3542349"/>
            <a:ext cx="4742478" cy="7732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400" dirty="0" err="1">
                <a:solidFill>
                  <a:srgbClr val="FFFFFF"/>
                </a:solidFill>
                <a:latin typeface="Arial"/>
              </a:rPr>
              <a:t>Akusti</a:t>
            </a:r>
            <a:r>
              <a:rPr lang="fi-FI" sz="1400" dirty="0">
                <a:solidFill>
                  <a:srgbClr val="FFFFFF"/>
                </a:solidFill>
                <a:latin typeface="Arial"/>
              </a:rPr>
              <a:t>-foorumin kesäseminaari</a:t>
            </a:r>
          </a:p>
          <a:p>
            <a:r>
              <a:rPr lang="fi-FI" sz="1400" dirty="0">
                <a:solidFill>
                  <a:srgbClr val="FFFFFF"/>
                </a:solidFill>
                <a:latin typeface="Arial"/>
              </a:rPr>
              <a:t>19.5.2022, Järvisydän, Rantasalmi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869415-2073-4474-8005-16EFB7E3E5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869415-2073-4474-8005-16EFB7E3E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F57273-7A4B-4332-90F9-A8E29563C5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fi-FI" sz="4800"/>
              <a:t>(Digi)kehittämisen johtamin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BD7FB9-82AB-4F9F-9CBF-6111B1764C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896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0340250-A7F5-4A2E-922E-EDA5DE8F2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0087"/>
            <a:ext cx="9140722" cy="911001"/>
          </a:xfrm>
        </p:spPr>
        <p:txBody>
          <a:bodyPr>
            <a:noAutofit/>
          </a:bodyPr>
          <a:lstStyle/>
          <a:p>
            <a:r>
              <a:rPr lang="fi-FI" sz="3200">
                <a:latin typeface="Lato Black"/>
                <a:ea typeface="Lato Black"/>
                <a:cs typeface="Lato Black"/>
              </a:rPr>
              <a:t>Taustalla BT-standardin ajatus- ja toimintamalli</a:t>
            </a:r>
            <a:endParaRPr lang="fi-FI" sz="3200"/>
          </a:p>
        </p:txBody>
      </p:sp>
      <p:pic>
        <p:nvPicPr>
          <p:cNvPr id="4" name="Kuva 4">
            <a:extLst>
              <a:ext uri="{FF2B5EF4-FFF2-40B4-BE49-F238E27FC236}">
                <a16:creationId xmlns:a16="http://schemas.microsoft.com/office/drawing/2014/main" id="{70046DFA-AFCC-4E11-BEA0-B0C79ED448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2041084"/>
            <a:ext cx="9099754" cy="3181410"/>
          </a:xfr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7C7EB862-CB38-4AE0-AE58-D7CA559AB866}"/>
              </a:ext>
            </a:extLst>
          </p:cNvPr>
          <p:cNvSpPr txBox="1"/>
          <p:nvPr/>
        </p:nvSpPr>
        <p:spPr>
          <a:xfrm>
            <a:off x="807884" y="6313949"/>
            <a:ext cx="6790812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hlinkClick r:id="rId3"/>
              </a:rPr>
              <a:t>Bisnesteknologiamalli - avoin johtamisen viitekehys (btmalli.fi)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9016090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tsikko 12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7560"/>
          </a:xfrm>
        </p:spPr>
        <p:txBody>
          <a:bodyPr/>
          <a:lstStyle/>
          <a:p>
            <a:r>
              <a:rPr lang="fi-FI"/>
              <a:t>Digiohjelma</a:t>
            </a:r>
          </a:p>
        </p:txBody>
      </p:sp>
      <p:sp>
        <p:nvSpPr>
          <p:cNvPr id="33" name="Suorakulmio 32"/>
          <p:cNvSpPr/>
          <p:nvPr/>
        </p:nvSpPr>
        <p:spPr>
          <a:xfrm>
            <a:off x="4718189" y="5504117"/>
            <a:ext cx="29148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400">
                <a:solidFill>
                  <a:srgbClr val="484D51"/>
                </a:solidFill>
                <a:latin typeface="Lato" panose="020F0502020204030203" pitchFamily="34" charset="0"/>
              </a:rPr>
              <a:t>Digikehittämisen lyhyen aikavälin tavoitteet, kehittämiskohteet ja toimenpiteet</a:t>
            </a: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958" y="2727788"/>
            <a:ext cx="2834793" cy="1701399"/>
          </a:xfrm>
          <a:prstGeom prst="rect">
            <a:avLst/>
          </a:prstGeom>
        </p:spPr>
      </p:pic>
      <p:sp>
        <p:nvSpPr>
          <p:cNvPr id="37" name="Suorakulmio 36"/>
          <p:cNvSpPr/>
          <p:nvPr/>
        </p:nvSpPr>
        <p:spPr>
          <a:xfrm>
            <a:off x="2751150" y="3207149"/>
            <a:ext cx="13530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400">
                <a:solidFill>
                  <a:srgbClr val="008238"/>
                </a:solidFill>
                <a:latin typeface="Lato" panose="020F0502020204030203" pitchFamily="34" charset="0"/>
              </a:rPr>
              <a:t>Toiminnan tavoitteet ja tarpeet</a:t>
            </a:r>
          </a:p>
        </p:txBody>
      </p:sp>
      <p:cxnSp>
        <p:nvCxnSpPr>
          <p:cNvPr id="38" name="Suora nuoliyhdysviiva 37"/>
          <p:cNvCxnSpPr>
            <a:stCxn id="37" idx="3"/>
            <a:endCxn id="2" idx="1"/>
          </p:cNvCxnSpPr>
          <p:nvPr/>
        </p:nvCxnSpPr>
        <p:spPr>
          <a:xfrm>
            <a:off x="4104164" y="3576481"/>
            <a:ext cx="609794" cy="2007"/>
          </a:xfrm>
          <a:prstGeom prst="straightConnector1">
            <a:avLst/>
          </a:prstGeom>
          <a:ln w="38100">
            <a:solidFill>
              <a:srgbClr val="32B95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uorakulmio 38"/>
          <p:cNvSpPr/>
          <p:nvPr/>
        </p:nvSpPr>
        <p:spPr>
          <a:xfrm>
            <a:off x="8134183" y="3314871"/>
            <a:ext cx="15027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400">
                <a:solidFill>
                  <a:srgbClr val="005CA9"/>
                </a:solidFill>
                <a:latin typeface="Lato" panose="020F0502020204030203" pitchFamily="34" charset="0"/>
              </a:rPr>
              <a:t>ICT:n nykytila ja </a:t>
            </a:r>
          </a:p>
          <a:p>
            <a:pPr algn="ctr"/>
            <a:r>
              <a:rPr lang="fi-FI" sz="1400">
                <a:solidFill>
                  <a:srgbClr val="005CA9"/>
                </a:solidFill>
                <a:latin typeface="Lato" panose="020F0502020204030203" pitchFamily="34" charset="0"/>
              </a:rPr>
              <a:t>mahdollisuudet</a:t>
            </a:r>
          </a:p>
        </p:txBody>
      </p:sp>
      <p:cxnSp>
        <p:nvCxnSpPr>
          <p:cNvPr id="42" name="Suora nuoliyhdysviiva 41"/>
          <p:cNvCxnSpPr>
            <a:stCxn id="39" idx="1"/>
            <a:endCxn id="2" idx="3"/>
          </p:cNvCxnSpPr>
          <p:nvPr/>
        </p:nvCxnSpPr>
        <p:spPr>
          <a:xfrm flipH="1">
            <a:off x="7548751" y="3576481"/>
            <a:ext cx="585432" cy="2007"/>
          </a:xfrm>
          <a:prstGeom prst="straightConnector1">
            <a:avLst/>
          </a:prstGeom>
          <a:ln w="38100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uorakulmio 43"/>
          <p:cNvSpPr/>
          <p:nvPr/>
        </p:nvSpPr>
        <p:spPr>
          <a:xfrm>
            <a:off x="4973372" y="1392017"/>
            <a:ext cx="23159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400">
                <a:solidFill>
                  <a:srgbClr val="484D51"/>
                </a:solidFill>
                <a:latin typeface="Lato" panose="020F0502020204030203" pitchFamily="34" charset="0"/>
              </a:rPr>
              <a:t>Kuntayhtymän pitkän tähtäimen visio ja strategia</a:t>
            </a:r>
          </a:p>
        </p:txBody>
      </p:sp>
      <p:cxnSp>
        <p:nvCxnSpPr>
          <p:cNvPr id="45" name="Suora nuoliyhdysviiva 44"/>
          <p:cNvCxnSpPr>
            <a:endCxn id="2" idx="0"/>
          </p:cNvCxnSpPr>
          <p:nvPr/>
        </p:nvCxnSpPr>
        <p:spPr>
          <a:xfrm>
            <a:off x="6131355" y="2038525"/>
            <a:ext cx="0" cy="689263"/>
          </a:xfrm>
          <a:prstGeom prst="straightConnector1">
            <a:avLst/>
          </a:prstGeom>
          <a:ln w="38100">
            <a:solidFill>
              <a:srgbClr val="484D5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kstiruutu 48"/>
          <p:cNvSpPr txBox="1"/>
          <p:nvPr/>
        </p:nvSpPr>
        <p:spPr>
          <a:xfrm>
            <a:off x="10119136" y="2321128"/>
            <a:ext cx="1612063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100">
                <a:latin typeface="Lato" panose="020F0502020204030203" pitchFamily="34" charset="0"/>
              </a:rPr>
              <a:t>Tavoitearkkitehtuuri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tä tietojärjestelmiä, teknologiaa ym. tarvitsemm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100">
                <a:latin typeface="Lato" panose="020F0502020204030203" pitchFamily="34" charset="0"/>
              </a:rPr>
              <a:t>Näihin panostamm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100">
                <a:latin typeface="Lato" panose="020F0502020204030203" pitchFamily="34" charset="0"/>
              </a:rPr>
              <a:t>Näitä kokeilemm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100">
                <a:latin typeface="Lato" panose="020F0502020204030203" pitchFamily="34" charset="0"/>
              </a:rPr>
              <a:t>Näiden kehitystä seuraamm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100">
                <a:latin typeface="Lato" panose="020F0502020204030203" pitchFamily="34" charset="0"/>
              </a:rPr>
              <a:t>Näistä luovumme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Oma/maakunnallinen/kansallinen ratkaisu?</a:t>
            </a:r>
          </a:p>
          <a:p>
            <a:endParaRPr lang="fi-FI" sz="1100">
              <a:latin typeface="Lato" panose="020F0502020204030203" pitchFamily="34" charset="0"/>
            </a:endParaRPr>
          </a:p>
        </p:txBody>
      </p:sp>
      <p:sp>
        <p:nvSpPr>
          <p:cNvPr id="50" name="Vasen hakasulje 49"/>
          <p:cNvSpPr/>
          <p:nvPr/>
        </p:nvSpPr>
        <p:spPr>
          <a:xfrm>
            <a:off x="9856731" y="1755632"/>
            <a:ext cx="238539" cy="3641697"/>
          </a:xfrm>
          <a:prstGeom prst="leftBracket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3" name="Tekstiruutu 52"/>
          <p:cNvSpPr txBox="1"/>
          <p:nvPr/>
        </p:nvSpPr>
        <p:spPr>
          <a:xfrm>
            <a:off x="727748" y="1897936"/>
            <a:ext cx="158901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100">
                <a:latin typeface="Lato" panose="020F0502020204030203" pitchFamily="34" charset="0"/>
              </a:rPr>
              <a:t>Missä haluamme olla tulevaisuudessa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llaista muutosta se meiltä edellyttää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tkä ovat toiminnan kannalta tärkeimpiä muutoksia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ten parannamme asiakaskokemusta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ten kehitämme prosesseja sujuvammiksi?</a:t>
            </a:r>
          </a:p>
          <a:p>
            <a:endParaRPr lang="fi-FI" sz="1100">
              <a:latin typeface="Lato" panose="020F0502020204030203" pitchFamily="34" charset="0"/>
            </a:endParaRPr>
          </a:p>
          <a:p>
            <a:r>
              <a:rPr lang="fi-FI" sz="1100">
                <a:latin typeface="Lato" panose="020F0502020204030203" pitchFamily="34" charset="0"/>
              </a:rPr>
              <a:t>Millaista osaamista ja kulttuuria tarvitsemme?</a:t>
            </a:r>
          </a:p>
        </p:txBody>
      </p:sp>
      <p:sp>
        <p:nvSpPr>
          <p:cNvPr id="54" name="Vasen hakasulje 53"/>
          <p:cNvSpPr/>
          <p:nvPr/>
        </p:nvSpPr>
        <p:spPr>
          <a:xfrm rot="10800000">
            <a:off x="2316768" y="1755631"/>
            <a:ext cx="238539" cy="3641697"/>
          </a:xfrm>
          <a:prstGeom prst="leftBracket">
            <a:avLst/>
          </a:prstGeom>
          <a:ln w="28575">
            <a:solidFill>
              <a:srgbClr val="32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1" name="Alanuoli 50"/>
          <p:cNvSpPr/>
          <p:nvPr/>
        </p:nvSpPr>
        <p:spPr>
          <a:xfrm>
            <a:off x="5870962" y="4429187"/>
            <a:ext cx="609352" cy="898187"/>
          </a:xfrm>
          <a:prstGeom prst="downArrow">
            <a:avLst/>
          </a:prstGeom>
          <a:gradFill flip="none" rotWithShape="1">
            <a:gsLst>
              <a:gs pos="0">
                <a:srgbClr val="32B956">
                  <a:lumMod val="100000"/>
                </a:srgbClr>
              </a:gs>
              <a:gs pos="100000">
                <a:srgbClr val="0070C0">
                  <a:lumMod val="10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7DEC620D-41C8-4760-9382-A39BA935AA8E}"/>
              </a:ext>
            </a:extLst>
          </p:cNvPr>
          <p:cNvSpPr txBox="1"/>
          <p:nvPr/>
        </p:nvSpPr>
        <p:spPr>
          <a:xfrm>
            <a:off x="6595534" y="6519333"/>
            <a:ext cx="5520266" cy="3470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>
                <a:solidFill>
                  <a:srgbClr val="333333"/>
                </a:solidFill>
                <a:latin typeface="futura-pt"/>
              </a:rPr>
              <a:t>Kuva </a:t>
            </a:r>
            <a:r>
              <a:rPr lang="en-US" sz="800" err="1">
                <a:solidFill>
                  <a:srgbClr val="333333"/>
                </a:solidFill>
                <a:latin typeface="futura-pt"/>
              </a:rPr>
              <a:t>muokattu</a:t>
            </a:r>
            <a:r>
              <a:rPr lang="en-US" sz="800">
                <a:solidFill>
                  <a:srgbClr val="333333"/>
                </a:solidFill>
                <a:latin typeface="futura-pt"/>
              </a:rPr>
              <a:t> </a:t>
            </a:r>
            <a:r>
              <a:rPr lang="en-US" sz="800" err="1">
                <a:solidFill>
                  <a:srgbClr val="333333"/>
                </a:solidFill>
                <a:latin typeface="futura-pt"/>
              </a:rPr>
              <a:t>lähteestä</a:t>
            </a:r>
            <a:r>
              <a:rPr lang="en-US" sz="800">
                <a:solidFill>
                  <a:srgbClr val="333333"/>
                </a:solidFill>
                <a:latin typeface="futura-pt"/>
              </a:rPr>
              <a:t>: Business Technology Standard. </a:t>
            </a:r>
            <a:r>
              <a:rPr lang="en-US" sz="800" err="1">
                <a:solidFill>
                  <a:srgbClr val="333333"/>
                </a:solidFill>
                <a:latin typeface="futura-pt"/>
              </a:rPr>
              <a:t>Tekijänoikeudet</a:t>
            </a:r>
            <a:r>
              <a:rPr lang="en-US" sz="800">
                <a:solidFill>
                  <a:srgbClr val="333333"/>
                </a:solidFill>
                <a:latin typeface="futura-pt"/>
              </a:rPr>
              <a:t> </a:t>
            </a:r>
            <a:r>
              <a:rPr lang="en-US" sz="800" err="1">
                <a:solidFill>
                  <a:srgbClr val="333333"/>
                </a:solidFill>
                <a:latin typeface="futura-pt"/>
              </a:rPr>
              <a:t>omistaa</a:t>
            </a:r>
            <a:r>
              <a:rPr lang="en-US" sz="800">
                <a:solidFill>
                  <a:srgbClr val="333333"/>
                </a:solidFill>
                <a:latin typeface="futura-pt"/>
              </a:rPr>
              <a:t> Business Technology Forum”.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081476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66637" y="403266"/>
            <a:ext cx="9911963" cy="670160"/>
          </a:xfrm>
        </p:spPr>
        <p:txBody>
          <a:bodyPr>
            <a:normAutofit fontScale="90000"/>
          </a:bodyPr>
          <a:lstStyle/>
          <a:p>
            <a:r>
              <a:rPr lang="fi-FI"/>
              <a:t>Digiohjelman suunnittelu</a:t>
            </a:r>
          </a:p>
        </p:txBody>
      </p:sp>
      <p:graphicFrame>
        <p:nvGraphicFramePr>
          <p:cNvPr id="5" name="Kaaviokuva 4"/>
          <p:cNvGraphicFramePr/>
          <p:nvPr>
            <p:extLst>
              <p:ext uri="{D42A27DB-BD31-4B8C-83A1-F6EECF244321}">
                <p14:modId xmlns:p14="http://schemas.microsoft.com/office/powerpoint/2010/main" val="4237335706"/>
              </p:ext>
            </p:extLst>
          </p:nvPr>
        </p:nvGraphicFramePr>
        <p:xfrm>
          <a:off x="862053" y="1367624"/>
          <a:ext cx="10492409" cy="34826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uorakulmio 7"/>
          <p:cNvSpPr/>
          <p:nvPr/>
        </p:nvSpPr>
        <p:spPr>
          <a:xfrm>
            <a:off x="766637" y="5359178"/>
            <a:ext cx="64929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i-FI" sz="1100">
                <a:latin typeface="Lato" panose="020F0502020204030203" pitchFamily="34" charset="0"/>
              </a:rPr>
              <a:t>Työpajojen osallistujat: johtoryhmä, tieto- ja kehittämispalveluiden päällikkö, kehittämispäällikkö, Digikehittämistä tekemiseen -hankkeen projektipäällikkö</a:t>
            </a:r>
          </a:p>
          <a:p>
            <a:pPr lvl="0"/>
            <a:endParaRPr lang="fi-FI" sz="1100">
              <a:latin typeface="Lato" panose="020F0502020204030203" pitchFamily="34" charset="0"/>
            </a:endParaRPr>
          </a:p>
          <a:p>
            <a:pPr lvl="0"/>
            <a:r>
              <a:rPr lang="fi-FI" sz="1100">
                <a:latin typeface="Lato" panose="020F0502020204030203" pitchFamily="34" charset="0"/>
              </a:rPr>
              <a:t>Työpajojen </a:t>
            </a:r>
            <a:r>
              <a:rPr lang="fi-FI" sz="1100" err="1">
                <a:latin typeface="Lato" panose="020F0502020204030203" pitchFamily="34" charset="0"/>
              </a:rPr>
              <a:t>fasilitointi</a:t>
            </a:r>
            <a:r>
              <a:rPr lang="fi-FI" sz="1100">
                <a:latin typeface="Lato" panose="020F0502020204030203" pitchFamily="34" charset="0"/>
              </a:rPr>
              <a:t> ja haastatteluiden toteutus: KPMG Oy:n asiantuntijat</a:t>
            </a:r>
          </a:p>
        </p:txBody>
      </p:sp>
    </p:spTree>
    <p:extLst>
      <p:ext uri="{BB962C8B-B14F-4D97-AF65-F5344CB8AC3E}">
        <p14:creationId xmlns:p14="http://schemas.microsoft.com/office/powerpoint/2010/main" val="21904939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519000"/>
            <a:ext cx="7534523" cy="1118946"/>
          </a:xfrm>
        </p:spPr>
        <p:txBody>
          <a:bodyPr>
            <a:noAutofit/>
          </a:bodyPr>
          <a:lstStyle/>
          <a:p>
            <a:r>
              <a:rPr lang="fi-FI" sz="3200"/>
              <a:t>Digiohjelma osana kuntayhtymän strategiaa ”Hyvinvoiva </a:t>
            </a:r>
            <a:r>
              <a:rPr lang="fi-FI" sz="3200" err="1"/>
              <a:t>Ylä</a:t>
            </a:r>
            <a:r>
              <a:rPr lang="fi-FI" sz="3200"/>
              <a:t>-Savo 2025”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838200" y="2122998"/>
            <a:ext cx="5650064" cy="3927945"/>
          </a:xfrm>
        </p:spPr>
        <p:txBody>
          <a:bodyPr>
            <a:normAutofit fontScale="92500" lnSpcReduction="10000"/>
          </a:bodyPr>
          <a:lstStyle/>
          <a:p>
            <a:r>
              <a:rPr lang="fi-FI"/>
              <a:t>Kuntayhtymän ensisijaisena tavoitteena on parantaa ja edistää yläsavolaisten terveyttä ja hyvinvointia. </a:t>
            </a:r>
            <a:br>
              <a:rPr lang="fi-FI"/>
            </a:br>
            <a:r>
              <a:rPr lang="fi-FI"/>
              <a:t>Toteutamme yhteistyössä laadukkaat, nykyaikaiset ja asiakkaiden tarpeisiin perustuvat palvelut – edelläkävijänä ja uudistumistarpeita ennakoiden.</a:t>
            </a:r>
          </a:p>
          <a:p>
            <a:r>
              <a:rPr lang="fi-FI" err="1"/>
              <a:t>Digitalisaatio</a:t>
            </a:r>
            <a:r>
              <a:rPr lang="fi-FI"/>
              <a:t> on sekä toimintatapojen uudistamista, sisäisten prosessien digitalisointia että palveluiden sähköistämistä. Digiohjelmassa nostetaan esille toimenpiteet, joilla </a:t>
            </a:r>
            <a:r>
              <a:rPr lang="fi-FI" i="1"/>
              <a:t>digitaalisten ratkaisujen mahdollistamana </a:t>
            </a:r>
            <a:r>
              <a:rPr lang="fi-FI"/>
              <a:t>parannetaan ja edistetään yläsavolaisten terveyttä ja hyvinvointia.</a:t>
            </a:r>
          </a:p>
          <a:p>
            <a:r>
              <a:rPr lang="fi-FI"/>
              <a:t>Digiohjelma perustuu yhtymävaltuustossa keväällä 2020 hyväksyttyyn strategiaan. Kaikissa ohjelman tavoitteissa ja toimenpiteissä näkyvät strategian kärjet:</a:t>
            </a:r>
          </a:p>
          <a:p>
            <a:pPr lvl="1"/>
            <a:r>
              <a:rPr lang="fi-FI"/>
              <a:t>elinvoimaa omaan elämään, </a:t>
            </a:r>
          </a:p>
          <a:p>
            <a:pPr lvl="1"/>
            <a:r>
              <a:rPr lang="fi-FI"/>
              <a:t>ennakoiva yhteistyö ja välittäminen, </a:t>
            </a:r>
          </a:p>
          <a:p>
            <a:pPr lvl="1"/>
            <a:r>
              <a:rPr lang="fi-FI"/>
              <a:t>meidän tarinamme ja </a:t>
            </a:r>
          </a:p>
          <a:p>
            <a:pPr lvl="1"/>
            <a:r>
              <a:rPr lang="fi-FI"/>
              <a:t>osaamisen aktiivinen kehittäminen. 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4294967295"/>
          </p:nvPr>
        </p:nvSpPr>
        <p:spPr>
          <a:xfrm>
            <a:off x="7296647" y="3681454"/>
            <a:ext cx="4685969" cy="2623930"/>
          </a:xfr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>
            <a:normAutofit fontScale="70000" lnSpcReduction="20000"/>
          </a:bodyPr>
          <a:lstStyle/>
          <a:p>
            <a:pPr marL="0" indent="0">
              <a:buNone/>
            </a:pPr>
            <a:br>
              <a:rPr lang="fi-FI"/>
            </a:br>
            <a:r>
              <a:rPr lang="fi-FI"/>
              <a:t>Digiohjelmaan kirjattujen toimenpiteiden avulla voimme erityisesti vaikuttaa seuraaviin päämääriin ja tavoitteisiin:</a:t>
            </a:r>
          </a:p>
          <a:p>
            <a:r>
              <a:rPr lang="fi-FI"/>
              <a:t>Paras asiakaskokemus ja paras työnantaja</a:t>
            </a:r>
          </a:p>
          <a:p>
            <a:r>
              <a:rPr lang="fi-FI"/>
              <a:t>Palveluiden kohdentuminen parhaalla mahdollisella tavalla tarpeen mukaan</a:t>
            </a:r>
          </a:p>
          <a:p>
            <a:r>
              <a:rPr lang="fi-FI"/>
              <a:t>Kuntalaisten aktivoiminen ja tukeminen oman terveyden seuraamisessa ja hyvinvointia vahvistavassa toiminnassa</a:t>
            </a:r>
          </a:p>
          <a:p>
            <a:r>
              <a:rPr lang="fi-FI"/>
              <a:t>Kustannustehokkaat palveluprosessit ja -rakenteet palvelujen järjestämisessä ja tuottamisessa</a:t>
            </a:r>
          </a:p>
          <a:p>
            <a:r>
              <a:rPr lang="fi-FI"/>
              <a:t>Erilaisten kokeilujen hyödyntäminen kehitystyössä esimerkiksi uusien toimintatapojen vaikutusten arvioimiseksi ja nopeaksi </a:t>
            </a:r>
            <a:r>
              <a:rPr lang="fi-FI" err="1"/>
              <a:t>pilotoimiseksi</a:t>
            </a:r>
            <a:endParaRPr lang="fi-FI"/>
          </a:p>
          <a:p>
            <a:r>
              <a:rPr lang="fi-FI"/>
              <a:t>Systemaattinen osaamisen kehittyminen ja laaja osallistuminen koulutukseen sekä vaikutusten ja uusien osaamistarpeiden arviointiin</a:t>
            </a:r>
          </a:p>
        </p:txBody>
      </p:sp>
    </p:spTree>
    <p:extLst>
      <p:ext uri="{BB962C8B-B14F-4D97-AF65-F5344CB8AC3E}">
        <p14:creationId xmlns:p14="http://schemas.microsoft.com/office/powerpoint/2010/main" val="1243193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59231" y="-373545"/>
            <a:ext cx="11002505" cy="1500936"/>
          </a:xfrm>
        </p:spPr>
        <p:txBody>
          <a:bodyPr>
            <a:normAutofit/>
          </a:bodyPr>
          <a:lstStyle/>
          <a:p>
            <a:r>
              <a:rPr lang="fi-FI" sz="3600"/>
              <a:t>Digiohjelma näyttää suuntaa digikehittämiselle </a:t>
            </a:r>
          </a:p>
        </p:txBody>
      </p:sp>
      <p:graphicFrame>
        <p:nvGraphicFramePr>
          <p:cNvPr id="6" name="Kaaviokuva 5"/>
          <p:cNvGraphicFramePr/>
          <p:nvPr>
            <p:extLst>
              <p:ext uri="{D42A27DB-BD31-4B8C-83A1-F6EECF244321}">
                <p14:modId xmlns:p14="http://schemas.microsoft.com/office/powerpoint/2010/main" val="3887270509"/>
              </p:ext>
            </p:extLst>
          </p:nvPr>
        </p:nvGraphicFramePr>
        <p:xfrm>
          <a:off x="5209796" y="1907236"/>
          <a:ext cx="5562600" cy="39608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uorakulmio 6"/>
          <p:cNvSpPr/>
          <p:nvPr/>
        </p:nvSpPr>
        <p:spPr>
          <a:xfrm>
            <a:off x="652219" y="1768330"/>
            <a:ext cx="4100593" cy="378565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r>
              <a:rPr lang="fi-FI" sz="1500" b="1" dirty="0">
                <a:solidFill>
                  <a:srgbClr val="0089CF"/>
                </a:solidFill>
                <a:latin typeface="Lato"/>
                <a:ea typeface="Lato"/>
                <a:cs typeface="Lato"/>
              </a:rPr>
              <a:t>Strategiset päätavoitteet</a:t>
            </a:r>
            <a:endParaRPr lang="fi-FI" sz="1500" b="1" dirty="0">
              <a:solidFill>
                <a:srgbClr val="0089CF"/>
              </a:solidFill>
              <a:latin typeface="Lato" panose="020F050202020403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500" dirty="0">
              <a:latin typeface="Lato" panose="020F050202020403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500" dirty="0">
                <a:latin typeface="Lato"/>
                <a:ea typeface="Lato"/>
                <a:cs typeface="Lato"/>
              </a:rPr>
              <a:t>Digitalisaatiolla toteutetaan osaltaan kuntayhtymän strategiaa ja se integroidaan osaksi perustoimintaa ja palveluprosessej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500" dirty="0">
              <a:latin typeface="Lato" panose="020F050202020403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500" dirty="0">
                <a:latin typeface="Lato"/>
                <a:ea typeface="Lato"/>
                <a:cs typeface="Lato"/>
              </a:rPr>
              <a:t>Digitalisaation avulla tuotetaan asiakaslähtöisiä palveluita kustannustehokkaalla tavalla (saatavuus ja saavutettavuu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500" dirty="0">
              <a:latin typeface="Lato" panose="020F050202020403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500" dirty="0">
                <a:latin typeface="Lato" panose="020F0502020204030203" pitchFamily="34" charset="0"/>
              </a:rPr>
              <a:t>Digitalisaation mahdollistamalla toiminnan tehostamisella ja automatisoinnilla parannetaan  resurssien tehokasta allokointia (esim. vapautetaan ammattilaisia henkilöintensiivisiin työtehtäviin)</a:t>
            </a:r>
          </a:p>
        </p:txBody>
      </p:sp>
      <p:sp>
        <p:nvSpPr>
          <p:cNvPr id="3" name="Suorakulmio 2"/>
          <p:cNvSpPr/>
          <p:nvPr/>
        </p:nvSpPr>
        <p:spPr>
          <a:xfrm>
            <a:off x="6906504" y="1537904"/>
            <a:ext cx="2169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b="1">
                <a:solidFill>
                  <a:srgbClr val="0089CF"/>
                </a:solidFill>
                <a:latin typeface="Lato" panose="020F0502020204030203" pitchFamily="34" charset="0"/>
              </a:rPr>
              <a:t>Strategiset teemat</a:t>
            </a:r>
          </a:p>
        </p:txBody>
      </p:sp>
    </p:spTree>
    <p:extLst>
      <p:ext uri="{BB962C8B-B14F-4D97-AF65-F5344CB8AC3E}">
        <p14:creationId xmlns:p14="http://schemas.microsoft.com/office/powerpoint/2010/main" val="3728472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/>
          <p:cNvSpPr>
            <a:spLocks noGrp="1"/>
          </p:cNvSpPr>
          <p:nvPr>
            <p:ph type="title"/>
          </p:nvPr>
        </p:nvSpPr>
        <p:spPr>
          <a:xfrm>
            <a:off x="838200" y="631579"/>
            <a:ext cx="7111790" cy="192244"/>
          </a:xfrm>
        </p:spPr>
        <p:txBody>
          <a:bodyPr>
            <a:noAutofit/>
          </a:bodyPr>
          <a:lstStyle/>
          <a:p>
            <a:r>
              <a:rPr lang="fi-FI" sz="2400"/>
              <a:t>Digiohjelman kehitysaihiot 2021-</a:t>
            </a:r>
          </a:p>
        </p:txBody>
      </p:sp>
      <p:graphicFrame>
        <p:nvGraphicFramePr>
          <p:cNvPr id="2" name="Kaaviokuva 1"/>
          <p:cNvGraphicFramePr/>
          <p:nvPr/>
        </p:nvGraphicFramePr>
        <p:xfrm>
          <a:off x="838200" y="1123627"/>
          <a:ext cx="10925014" cy="39675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Kaaviokuva 6"/>
          <p:cNvGraphicFramePr/>
          <p:nvPr/>
        </p:nvGraphicFramePr>
        <p:xfrm>
          <a:off x="838200" y="5292672"/>
          <a:ext cx="10925014" cy="1206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Ellipsi 4"/>
          <p:cNvSpPr/>
          <p:nvPr/>
        </p:nvSpPr>
        <p:spPr>
          <a:xfrm>
            <a:off x="2639616" y="2708920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Ellipsi 7"/>
          <p:cNvSpPr/>
          <p:nvPr/>
        </p:nvSpPr>
        <p:spPr>
          <a:xfrm>
            <a:off x="2639616" y="3029918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Ellipsi 8"/>
          <p:cNvSpPr/>
          <p:nvPr/>
        </p:nvSpPr>
        <p:spPr>
          <a:xfrm>
            <a:off x="2639616" y="3354840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Ellipsi 9"/>
          <p:cNvSpPr/>
          <p:nvPr/>
        </p:nvSpPr>
        <p:spPr>
          <a:xfrm>
            <a:off x="2639616" y="3682385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Ellipsi 10"/>
          <p:cNvSpPr/>
          <p:nvPr/>
        </p:nvSpPr>
        <p:spPr>
          <a:xfrm>
            <a:off x="2639616" y="4031351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Ellipsi 11"/>
          <p:cNvSpPr/>
          <p:nvPr/>
        </p:nvSpPr>
        <p:spPr>
          <a:xfrm>
            <a:off x="2639616" y="4331155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3" name="Ellipsi 12"/>
          <p:cNvSpPr/>
          <p:nvPr/>
        </p:nvSpPr>
        <p:spPr>
          <a:xfrm>
            <a:off x="2639616" y="4671321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Ellipsi 13"/>
          <p:cNvSpPr/>
          <p:nvPr/>
        </p:nvSpPr>
        <p:spPr>
          <a:xfrm>
            <a:off x="4823991" y="3495161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5" name="Ellipsi 14"/>
          <p:cNvSpPr/>
          <p:nvPr/>
        </p:nvSpPr>
        <p:spPr>
          <a:xfrm>
            <a:off x="7046432" y="2996952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Ellipsi 15"/>
          <p:cNvSpPr/>
          <p:nvPr/>
        </p:nvSpPr>
        <p:spPr>
          <a:xfrm>
            <a:off x="7046432" y="4066105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7" name="Ellipsi 16"/>
          <p:cNvSpPr/>
          <p:nvPr/>
        </p:nvSpPr>
        <p:spPr>
          <a:xfrm>
            <a:off x="7046432" y="4581128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8" name="Ellipsi 17"/>
          <p:cNvSpPr/>
          <p:nvPr/>
        </p:nvSpPr>
        <p:spPr>
          <a:xfrm>
            <a:off x="9249840" y="2471021"/>
            <a:ext cx="154983" cy="154983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Ellipsi 18"/>
          <p:cNvSpPr/>
          <p:nvPr/>
        </p:nvSpPr>
        <p:spPr>
          <a:xfrm>
            <a:off x="9249840" y="2980526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0" name="Ellipsi 19"/>
          <p:cNvSpPr/>
          <p:nvPr/>
        </p:nvSpPr>
        <p:spPr>
          <a:xfrm>
            <a:off x="9249840" y="3527402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1" name="Ellipsi 20"/>
          <p:cNvSpPr/>
          <p:nvPr/>
        </p:nvSpPr>
        <p:spPr>
          <a:xfrm>
            <a:off x="9249840" y="4033527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2" name="Ellipsi 21"/>
          <p:cNvSpPr/>
          <p:nvPr/>
        </p:nvSpPr>
        <p:spPr>
          <a:xfrm>
            <a:off x="9249840" y="4562360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Ellipsi 22"/>
          <p:cNvSpPr/>
          <p:nvPr/>
        </p:nvSpPr>
        <p:spPr>
          <a:xfrm>
            <a:off x="11496599" y="3199857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Ellipsi 23"/>
          <p:cNvSpPr/>
          <p:nvPr/>
        </p:nvSpPr>
        <p:spPr>
          <a:xfrm>
            <a:off x="11496599" y="3861048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Ellipsi 25"/>
          <p:cNvSpPr/>
          <p:nvPr/>
        </p:nvSpPr>
        <p:spPr>
          <a:xfrm>
            <a:off x="10632504" y="6237312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7" name="Ellipsi 26"/>
          <p:cNvSpPr/>
          <p:nvPr/>
        </p:nvSpPr>
        <p:spPr>
          <a:xfrm>
            <a:off x="10632504" y="5687501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8" name="Ellipsi 27"/>
          <p:cNvSpPr/>
          <p:nvPr/>
        </p:nvSpPr>
        <p:spPr>
          <a:xfrm>
            <a:off x="10632504" y="5966471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9" name="Tekstiruutu 28"/>
          <p:cNvSpPr txBox="1"/>
          <p:nvPr/>
        </p:nvSpPr>
        <p:spPr>
          <a:xfrm>
            <a:off x="9912424" y="339392"/>
            <a:ext cx="21932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kaisu tuotannossa</a:t>
            </a:r>
            <a:r>
              <a:rPr kumimoji="0" lang="fi-FI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i </a:t>
            </a:r>
            <a:r>
              <a:rPr lang="fi-FI" sz="1100">
                <a:solidFill>
                  <a:prstClr val="black"/>
                </a:solidFill>
                <a:latin typeface="Arial"/>
              </a:rPr>
              <a:t>k</a:t>
            </a:r>
            <a:r>
              <a:rPr kumimoji="0" lang="fi-FI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hittäminen</a:t>
            </a: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äynnissä</a:t>
            </a:r>
          </a:p>
        </p:txBody>
      </p:sp>
      <p:sp>
        <p:nvSpPr>
          <p:cNvPr id="30" name="Ellipsi 29"/>
          <p:cNvSpPr/>
          <p:nvPr/>
        </p:nvSpPr>
        <p:spPr>
          <a:xfrm>
            <a:off x="9757440" y="485694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Ellipsi 30"/>
          <p:cNvSpPr/>
          <p:nvPr/>
        </p:nvSpPr>
        <p:spPr>
          <a:xfrm>
            <a:off x="11498882" y="4509120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Tekstiruutu 31"/>
          <p:cNvSpPr txBox="1"/>
          <p:nvPr/>
        </p:nvSpPr>
        <p:spPr>
          <a:xfrm>
            <a:off x="7791206" y="427006"/>
            <a:ext cx="1702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tkovalmistelussa</a:t>
            </a:r>
          </a:p>
        </p:txBody>
      </p:sp>
      <p:sp>
        <p:nvSpPr>
          <p:cNvPr id="33" name="Ellipsi 32"/>
          <p:cNvSpPr/>
          <p:nvPr/>
        </p:nvSpPr>
        <p:spPr>
          <a:xfrm>
            <a:off x="7636223" y="484042"/>
            <a:ext cx="154983" cy="154983"/>
          </a:xfrm>
          <a:prstGeom prst="ellipse">
            <a:avLst/>
          </a:prstGeom>
          <a:solidFill>
            <a:srgbClr val="FFFF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4" name="Tekstiruutu 33"/>
          <p:cNvSpPr txBox="1"/>
          <p:nvPr/>
        </p:nvSpPr>
        <p:spPr>
          <a:xfrm>
            <a:off x="5895123" y="334238"/>
            <a:ext cx="13591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skeytetty</a:t>
            </a:r>
            <a:r>
              <a:rPr kumimoji="0" lang="fi-FI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i selvitettävänä</a:t>
            </a: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Ellipsi 34"/>
          <p:cNvSpPr/>
          <p:nvPr/>
        </p:nvSpPr>
        <p:spPr>
          <a:xfrm>
            <a:off x="5740140" y="483272"/>
            <a:ext cx="154983" cy="154983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Ellipsi 35"/>
          <p:cNvSpPr/>
          <p:nvPr/>
        </p:nvSpPr>
        <p:spPr>
          <a:xfrm>
            <a:off x="2639615" y="2375706"/>
            <a:ext cx="154983" cy="154983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Ellipsi 36"/>
          <p:cNvSpPr/>
          <p:nvPr/>
        </p:nvSpPr>
        <p:spPr>
          <a:xfrm>
            <a:off x="7046431" y="3501008"/>
            <a:ext cx="154983" cy="154983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Ellipsi 37"/>
          <p:cNvSpPr/>
          <p:nvPr/>
        </p:nvSpPr>
        <p:spPr>
          <a:xfrm>
            <a:off x="7046430" y="2462376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9" name="Ellipsi 38"/>
          <p:cNvSpPr/>
          <p:nvPr/>
        </p:nvSpPr>
        <p:spPr>
          <a:xfrm>
            <a:off x="11491010" y="2517310"/>
            <a:ext cx="154983" cy="15498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924364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/>
        </p:nvPicPr>
        <p:blipFill rotWithShape="1">
          <a:blip r:embed="rId2"/>
          <a:srcRect t="58412" r="48927"/>
          <a:stretch/>
        </p:blipFill>
        <p:spPr>
          <a:xfrm>
            <a:off x="727749" y="578708"/>
            <a:ext cx="10739913" cy="5983015"/>
          </a:xfrm>
          <a:prstGeom prst="rect">
            <a:avLst/>
          </a:prstGeom>
        </p:spPr>
      </p:pic>
      <p:sp>
        <p:nvSpPr>
          <p:cNvPr id="3" name="Dian numeron paikkamerkki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2A4837A0-F8B5-40DF-B7A3-2778985E9851}" type="slidenum">
              <a:rPr lang="fi-FI" smtClean="0"/>
              <a:pPr/>
              <a:t>17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r>
              <a:rPr lang="fi-FI" sz="1000"/>
              <a:t>Digitalisaation roadmap</a:t>
            </a:r>
          </a:p>
        </p:txBody>
      </p:sp>
      <p:sp>
        <p:nvSpPr>
          <p:cNvPr id="24" name="Pyöristetty suorakulmio 23"/>
          <p:cNvSpPr/>
          <p:nvPr/>
        </p:nvSpPr>
        <p:spPr>
          <a:xfrm>
            <a:off x="1202018" y="243205"/>
            <a:ext cx="1645349" cy="3696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b="1">
                <a:solidFill>
                  <a:schemeClr val="tx1"/>
                </a:solidFill>
                <a:latin typeface="Lato" panose="020F0502020204030203" pitchFamily="34" charset="0"/>
              </a:rPr>
              <a:t>2019-2020</a:t>
            </a:r>
          </a:p>
        </p:txBody>
      </p:sp>
      <p:sp>
        <p:nvSpPr>
          <p:cNvPr id="25" name="Pyöristetty suorakulmio 24"/>
          <p:cNvSpPr/>
          <p:nvPr/>
        </p:nvSpPr>
        <p:spPr>
          <a:xfrm>
            <a:off x="4539890" y="234438"/>
            <a:ext cx="1645349" cy="3696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b="1">
                <a:solidFill>
                  <a:schemeClr val="tx1"/>
                </a:solidFill>
                <a:latin typeface="Lato" panose="020F0502020204030203" pitchFamily="34" charset="0"/>
              </a:rPr>
              <a:t>2021</a:t>
            </a:r>
          </a:p>
        </p:txBody>
      </p:sp>
      <p:sp>
        <p:nvSpPr>
          <p:cNvPr id="26" name="Pyöristetty suorakulmio 25"/>
          <p:cNvSpPr/>
          <p:nvPr/>
        </p:nvSpPr>
        <p:spPr>
          <a:xfrm>
            <a:off x="8700352" y="230711"/>
            <a:ext cx="1645349" cy="3696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b="1">
                <a:solidFill>
                  <a:schemeClr val="tx1"/>
                </a:solidFill>
                <a:latin typeface="Lato" panose="020F0502020204030203" pitchFamily="34" charset="0"/>
              </a:rPr>
              <a:t>2022</a:t>
            </a:r>
          </a:p>
        </p:txBody>
      </p:sp>
      <p:grpSp>
        <p:nvGrpSpPr>
          <p:cNvPr id="68" name="Ryhmä 67"/>
          <p:cNvGrpSpPr/>
          <p:nvPr/>
        </p:nvGrpSpPr>
        <p:grpSpPr>
          <a:xfrm>
            <a:off x="4326561" y="7732433"/>
            <a:ext cx="2979781" cy="260071"/>
            <a:chOff x="4377987" y="5088284"/>
            <a:chExt cx="2979781" cy="260071"/>
          </a:xfrm>
        </p:grpSpPr>
        <p:sp>
          <p:nvSpPr>
            <p:cNvPr id="84" name="Pyöristetty suorakulmio 83"/>
            <p:cNvSpPr/>
            <p:nvPr/>
          </p:nvSpPr>
          <p:spPr>
            <a:xfrm>
              <a:off x="4377987" y="5088284"/>
              <a:ext cx="2979781" cy="26007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Pyöristetty suorakulmio 46"/>
            <p:cNvSpPr txBox="1"/>
            <p:nvPr/>
          </p:nvSpPr>
          <p:spPr>
            <a:xfrm>
              <a:off x="4385604" y="5095901"/>
              <a:ext cx="2964547" cy="2448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1000" kern="1200"/>
                <a:t>Manuaalisten raporttien automatisointi Tableaulle</a:t>
              </a:r>
            </a:p>
          </p:txBody>
        </p:sp>
      </p:grpSp>
      <p:cxnSp>
        <p:nvCxnSpPr>
          <p:cNvPr id="8" name="Suora yhdysviiva 7"/>
          <p:cNvCxnSpPr/>
          <p:nvPr/>
        </p:nvCxnSpPr>
        <p:spPr>
          <a:xfrm flipV="1">
            <a:off x="708328" y="569941"/>
            <a:ext cx="10763673" cy="50987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uora yhdysviiva 175"/>
          <p:cNvCxnSpPr/>
          <p:nvPr/>
        </p:nvCxnSpPr>
        <p:spPr>
          <a:xfrm flipV="1">
            <a:off x="6955352" y="572493"/>
            <a:ext cx="4496435" cy="597335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5-sakarainen tähti 176"/>
          <p:cNvSpPr/>
          <p:nvPr/>
        </p:nvSpPr>
        <p:spPr>
          <a:xfrm>
            <a:off x="11111927" y="212332"/>
            <a:ext cx="733032" cy="733032"/>
          </a:xfrm>
          <a:prstGeom prst="star5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90" name="Ryhmä 189"/>
          <p:cNvGrpSpPr/>
          <p:nvPr/>
        </p:nvGrpSpPr>
        <p:grpSpPr>
          <a:xfrm>
            <a:off x="1014866" y="2477159"/>
            <a:ext cx="1254939" cy="364573"/>
            <a:chOff x="373905" y="1786119"/>
            <a:chExt cx="2979781" cy="339367"/>
          </a:xfrm>
          <a:noFill/>
        </p:grpSpPr>
        <p:sp>
          <p:nvSpPr>
            <p:cNvPr id="191" name="Pyöristetty suorakulmio 190"/>
            <p:cNvSpPr/>
            <p:nvPr/>
          </p:nvSpPr>
          <p:spPr>
            <a:xfrm>
              <a:off x="373905" y="1786119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2" name="Pyöristetty suorakulmio 4"/>
            <p:cNvSpPr txBox="1"/>
            <p:nvPr/>
          </p:nvSpPr>
          <p:spPr>
            <a:xfrm>
              <a:off x="383845" y="1796059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Fysioterapian 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>
                  <a:solidFill>
                    <a:schemeClr val="tx1"/>
                  </a:solidFill>
                </a:rPr>
                <a:t>sähköinen ajanvaraus</a:t>
              </a:r>
            </a:p>
          </p:txBody>
        </p:sp>
      </p:grpSp>
      <p:grpSp>
        <p:nvGrpSpPr>
          <p:cNvPr id="193" name="Ryhmä 192"/>
          <p:cNvGrpSpPr/>
          <p:nvPr/>
        </p:nvGrpSpPr>
        <p:grpSpPr>
          <a:xfrm>
            <a:off x="2547133" y="1006601"/>
            <a:ext cx="1034965" cy="231161"/>
            <a:chOff x="373905" y="2177697"/>
            <a:chExt cx="2979781" cy="339367"/>
          </a:xfrm>
          <a:noFill/>
        </p:grpSpPr>
        <p:sp>
          <p:nvSpPr>
            <p:cNvPr id="194" name="Pyöristetty suorakulmio 193"/>
            <p:cNvSpPr/>
            <p:nvPr/>
          </p:nvSpPr>
          <p:spPr>
            <a:xfrm>
              <a:off x="373905" y="2177697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5" name="Pyöristetty suorakulmio 6"/>
            <p:cNvSpPr txBox="1"/>
            <p:nvPr/>
          </p:nvSpPr>
          <p:spPr>
            <a:xfrm>
              <a:off x="383845" y="2187637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Palveluohjauksen järjestäminen</a:t>
              </a:r>
            </a:p>
          </p:txBody>
        </p:sp>
      </p:grpSp>
      <p:grpSp>
        <p:nvGrpSpPr>
          <p:cNvPr id="196" name="Ryhmä 195"/>
          <p:cNvGrpSpPr/>
          <p:nvPr/>
        </p:nvGrpSpPr>
        <p:grpSpPr>
          <a:xfrm>
            <a:off x="3816759" y="4881883"/>
            <a:ext cx="1610104" cy="652682"/>
            <a:chOff x="373905" y="2569276"/>
            <a:chExt cx="2979781" cy="339367"/>
          </a:xfrm>
          <a:noFill/>
        </p:grpSpPr>
        <p:sp>
          <p:nvSpPr>
            <p:cNvPr id="197" name="Pyöristetty suorakulmio 196"/>
            <p:cNvSpPr/>
            <p:nvPr/>
          </p:nvSpPr>
          <p:spPr>
            <a:xfrm>
              <a:off x="373905" y="2569276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8" name="Pyöristetty suorakulmio 8"/>
            <p:cNvSpPr txBox="1"/>
            <p:nvPr/>
          </p:nvSpPr>
          <p:spPr>
            <a:xfrm>
              <a:off x="383845" y="2579216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Asiakaspalautteiden käsittely 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 err="1">
                  <a:solidFill>
                    <a:schemeClr val="tx1"/>
                  </a:solidFill>
                </a:rPr>
                <a:t>Ylä</a:t>
              </a:r>
              <a:r>
                <a:rPr lang="fi-FI" sz="900" kern="1200">
                  <a:solidFill>
                    <a:schemeClr val="tx1"/>
                  </a:solidFill>
                </a:rPr>
                <a:t>-Savon SOTE kuntayhtymässä</a:t>
              </a:r>
            </a:p>
          </p:txBody>
        </p:sp>
      </p:grpSp>
      <p:grpSp>
        <p:nvGrpSpPr>
          <p:cNvPr id="199" name="Ryhmä 198"/>
          <p:cNvGrpSpPr/>
          <p:nvPr/>
        </p:nvGrpSpPr>
        <p:grpSpPr>
          <a:xfrm>
            <a:off x="1985334" y="1398886"/>
            <a:ext cx="1391500" cy="339367"/>
            <a:chOff x="373905" y="2960854"/>
            <a:chExt cx="2979781" cy="339367"/>
          </a:xfrm>
          <a:noFill/>
        </p:grpSpPr>
        <p:sp>
          <p:nvSpPr>
            <p:cNvPr id="200" name="Pyöristetty suorakulmio 199"/>
            <p:cNvSpPr/>
            <p:nvPr/>
          </p:nvSpPr>
          <p:spPr>
            <a:xfrm>
              <a:off x="373905" y="2960854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1" name="Pyöristetty suorakulmio 10"/>
            <p:cNvSpPr txBox="1"/>
            <p:nvPr/>
          </p:nvSpPr>
          <p:spPr>
            <a:xfrm>
              <a:off x="383845" y="2970794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Internet-sivuston uudistaminen</a:t>
              </a:r>
            </a:p>
          </p:txBody>
        </p:sp>
      </p:grpSp>
      <p:grpSp>
        <p:nvGrpSpPr>
          <p:cNvPr id="202" name="Ryhmä 201"/>
          <p:cNvGrpSpPr/>
          <p:nvPr/>
        </p:nvGrpSpPr>
        <p:grpSpPr>
          <a:xfrm>
            <a:off x="2988021" y="2875709"/>
            <a:ext cx="1289033" cy="339367"/>
            <a:chOff x="373905" y="3352432"/>
            <a:chExt cx="2979781" cy="339367"/>
          </a:xfrm>
          <a:noFill/>
        </p:grpSpPr>
        <p:sp>
          <p:nvSpPr>
            <p:cNvPr id="203" name="Pyöristetty suorakulmio 202"/>
            <p:cNvSpPr/>
            <p:nvPr/>
          </p:nvSpPr>
          <p:spPr>
            <a:xfrm>
              <a:off x="373905" y="3352432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4" name="Pyöristetty suorakulmio 12"/>
            <p:cNvSpPr txBox="1"/>
            <p:nvPr/>
          </p:nvSpPr>
          <p:spPr>
            <a:xfrm>
              <a:off x="383845" y="3362372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 err="1">
                  <a:solidFill>
                    <a:schemeClr val="tx1"/>
                  </a:solidFill>
                </a:rPr>
                <a:t>Chattibotti</a:t>
              </a:r>
              <a:r>
                <a:rPr lang="fi-FI" sz="900" kern="1200">
                  <a:solidFill>
                    <a:schemeClr val="tx1"/>
                  </a:solidFill>
                </a:rPr>
                <a:t>-pilotti</a:t>
              </a:r>
            </a:p>
          </p:txBody>
        </p:sp>
      </p:grpSp>
      <p:grpSp>
        <p:nvGrpSpPr>
          <p:cNvPr id="205" name="Ryhmä 204"/>
          <p:cNvGrpSpPr/>
          <p:nvPr/>
        </p:nvGrpSpPr>
        <p:grpSpPr>
          <a:xfrm>
            <a:off x="1052233" y="955351"/>
            <a:ext cx="1392192" cy="339367"/>
            <a:chOff x="373905" y="3744010"/>
            <a:chExt cx="2979781" cy="339367"/>
          </a:xfrm>
          <a:noFill/>
        </p:grpSpPr>
        <p:sp>
          <p:nvSpPr>
            <p:cNvPr id="206" name="Pyöristetty suorakulmio 205"/>
            <p:cNvSpPr/>
            <p:nvPr/>
          </p:nvSpPr>
          <p:spPr>
            <a:xfrm>
              <a:off x="373905" y="3744010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7" name="Pyöristetty suorakulmio 14"/>
            <p:cNvSpPr txBox="1"/>
            <p:nvPr/>
          </p:nvSpPr>
          <p:spPr>
            <a:xfrm>
              <a:off x="383845" y="3753950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Etäpalvelut, eChat ja eVideo</a:t>
              </a:r>
            </a:p>
          </p:txBody>
        </p:sp>
      </p:grpSp>
      <p:grpSp>
        <p:nvGrpSpPr>
          <p:cNvPr id="208" name="Ryhmä 207"/>
          <p:cNvGrpSpPr/>
          <p:nvPr/>
        </p:nvGrpSpPr>
        <p:grpSpPr>
          <a:xfrm>
            <a:off x="3099266" y="1856004"/>
            <a:ext cx="1207900" cy="339367"/>
            <a:chOff x="373905" y="4135589"/>
            <a:chExt cx="2979781" cy="339367"/>
          </a:xfrm>
          <a:noFill/>
        </p:grpSpPr>
        <p:sp>
          <p:nvSpPr>
            <p:cNvPr id="209" name="Pyöristetty suorakulmio 208"/>
            <p:cNvSpPr/>
            <p:nvPr/>
          </p:nvSpPr>
          <p:spPr>
            <a:xfrm>
              <a:off x="373905" y="4135589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0" name="Pyöristetty suorakulmio 16"/>
            <p:cNvSpPr txBox="1"/>
            <p:nvPr/>
          </p:nvSpPr>
          <p:spPr>
            <a:xfrm>
              <a:off x="383845" y="4145529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Kotihoidon 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>
                  <a:solidFill>
                    <a:schemeClr val="tx1"/>
                  </a:solidFill>
                </a:rPr>
                <a:t>digitaaliset ratkaisut</a:t>
              </a:r>
            </a:p>
          </p:txBody>
        </p:sp>
      </p:grpSp>
      <p:grpSp>
        <p:nvGrpSpPr>
          <p:cNvPr id="211" name="Ryhmä 210"/>
          <p:cNvGrpSpPr/>
          <p:nvPr/>
        </p:nvGrpSpPr>
        <p:grpSpPr>
          <a:xfrm>
            <a:off x="9091283" y="4222718"/>
            <a:ext cx="1298559" cy="339367"/>
            <a:chOff x="373905" y="4918745"/>
            <a:chExt cx="2979781" cy="339367"/>
          </a:xfrm>
          <a:noFill/>
        </p:grpSpPr>
        <p:sp>
          <p:nvSpPr>
            <p:cNvPr id="212" name="Pyöristetty suorakulmio 211"/>
            <p:cNvSpPr/>
            <p:nvPr/>
          </p:nvSpPr>
          <p:spPr>
            <a:xfrm>
              <a:off x="373905" y="4918745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3" name="Pyöristetty suorakulmio 20"/>
            <p:cNvSpPr txBox="1"/>
            <p:nvPr/>
          </p:nvSpPr>
          <p:spPr>
            <a:xfrm>
              <a:off x="383845" y="4928685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ICT Teleoperaattori-palvelut</a:t>
              </a:r>
            </a:p>
          </p:txBody>
        </p:sp>
      </p:grpSp>
      <p:grpSp>
        <p:nvGrpSpPr>
          <p:cNvPr id="214" name="Ryhmä 213"/>
          <p:cNvGrpSpPr/>
          <p:nvPr/>
        </p:nvGrpSpPr>
        <p:grpSpPr>
          <a:xfrm>
            <a:off x="8052304" y="5900092"/>
            <a:ext cx="1364573" cy="328705"/>
            <a:chOff x="4377987" y="1787372"/>
            <a:chExt cx="2979781" cy="260071"/>
          </a:xfrm>
          <a:noFill/>
        </p:grpSpPr>
        <p:sp>
          <p:nvSpPr>
            <p:cNvPr id="215" name="Pyöristetty suorakulmio 214"/>
            <p:cNvSpPr/>
            <p:nvPr/>
          </p:nvSpPr>
          <p:spPr>
            <a:xfrm>
              <a:off x="4377987" y="1787372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6" name="Pyöristetty suorakulmio 24"/>
            <p:cNvSpPr txBox="1"/>
            <p:nvPr/>
          </p:nvSpPr>
          <p:spPr>
            <a:xfrm>
              <a:off x="4385604" y="1794989"/>
              <a:ext cx="2964547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O365-käyttöönotto-projekti</a:t>
              </a:r>
            </a:p>
          </p:txBody>
        </p:sp>
      </p:grpSp>
      <p:sp>
        <p:nvSpPr>
          <p:cNvPr id="219" name="Pyöristetty suorakulmio 28"/>
          <p:cNvSpPr txBox="1"/>
          <p:nvPr/>
        </p:nvSpPr>
        <p:spPr>
          <a:xfrm>
            <a:off x="6366480" y="3230066"/>
            <a:ext cx="1120631" cy="35422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19050" rIns="25400" bIns="1905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i-FI" sz="900" kern="1200">
                <a:solidFill>
                  <a:schemeClr val="tx1"/>
                </a:solidFill>
              </a:rPr>
              <a:t>Palveluseteli- ja ostopalveluohjelmisto</a:t>
            </a:r>
          </a:p>
        </p:txBody>
      </p:sp>
      <p:sp>
        <p:nvSpPr>
          <p:cNvPr id="220" name="Pyöristetty suorakulmio 219"/>
          <p:cNvSpPr/>
          <p:nvPr/>
        </p:nvSpPr>
        <p:spPr>
          <a:xfrm>
            <a:off x="7713726" y="3701024"/>
            <a:ext cx="1586762" cy="260071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21" name="Ryhmä 220"/>
          <p:cNvGrpSpPr/>
          <p:nvPr/>
        </p:nvGrpSpPr>
        <p:grpSpPr>
          <a:xfrm>
            <a:off x="5514946" y="3712068"/>
            <a:ext cx="1116834" cy="260071"/>
            <a:chOff x="4377987" y="3287786"/>
            <a:chExt cx="2979781" cy="260071"/>
          </a:xfrm>
          <a:noFill/>
        </p:grpSpPr>
        <p:sp>
          <p:nvSpPr>
            <p:cNvPr id="222" name="Pyöristetty suorakulmio 221"/>
            <p:cNvSpPr/>
            <p:nvPr/>
          </p:nvSpPr>
          <p:spPr>
            <a:xfrm>
              <a:off x="4377987" y="3287786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3" name="Pyöristetty suorakulmio 34"/>
            <p:cNvSpPr txBox="1"/>
            <p:nvPr/>
          </p:nvSpPr>
          <p:spPr>
            <a:xfrm>
              <a:off x="4385604" y="3295403"/>
              <a:ext cx="2964547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Sähköinen arkistointiratkaisu</a:t>
              </a:r>
            </a:p>
          </p:txBody>
        </p:sp>
      </p:grpSp>
      <p:grpSp>
        <p:nvGrpSpPr>
          <p:cNvPr id="224" name="Ryhmä 223"/>
          <p:cNvGrpSpPr/>
          <p:nvPr/>
        </p:nvGrpSpPr>
        <p:grpSpPr>
          <a:xfrm>
            <a:off x="5201389" y="5541908"/>
            <a:ext cx="1087486" cy="260071"/>
            <a:chOff x="4377987" y="3887952"/>
            <a:chExt cx="2979781" cy="260071"/>
          </a:xfrm>
          <a:noFill/>
        </p:grpSpPr>
        <p:sp>
          <p:nvSpPr>
            <p:cNvPr id="225" name="Pyöristetty suorakulmio 224"/>
            <p:cNvSpPr/>
            <p:nvPr/>
          </p:nvSpPr>
          <p:spPr>
            <a:xfrm>
              <a:off x="4377987" y="3887952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6" name="Pyöristetty suorakulmio 38"/>
            <p:cNvSpPr txBox="1"/>
            <p:nvPr/>
          </p:nvSpPr>
          <p:spPr>
            <a:xfrm>
              <a:off x="4385604" y="3895569"/>
              <a:ext cx="2964547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Toimittajaportaali</a:t>
              </a:r>
            </a:p>
          </p:txBody>
        </p:sp>
      </p:grpSp>
      <p:grpSp>
        <p:nvGrpSpPr>
          <p:cNvPr id="227" name="Ryhmä 226"/>
          <p:cNvGrpSpPr/>
          <p:nvPr/>
        </p:nvGrpSpPr>
        <p:grpSpPr>
          <a:xfrm>
            <a:off x="4220170" y="4374363"/>
            <a:ext cx="1253635" cy="431860"/>
            <a:chOff x="4377987" y="4188035"/>
            <a:chExt cx="2979781" cy="260071"/>
          </a:xfrm>
          <a:noFill/>
        </p:grpSpPr>
        <p:sp>
          <p:nvSpPr>
            <p:cNvPr id="228" name="Pyöristetty suorakulmio 227"/>
            <p:cNvSpPr/>
            <p:nvPr/>
          </p:nvSpPr>
          <p:spPr>
            <a:xfrm>
              <a:off x="4377987" y="4188035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9" name="Pyöristetty suorakulmio 40"/>
            <p:cNvSpPr txBox="1"/>
            <p:nvPr/>
          </p:nvSpPr>
          <p:spPr>
            <a:xfrm>
              <a:off x="4385604" y="4195652"/>
              <a:ext cx="2964547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Työvoiman hallinnan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>
                  <a:solidFill>
                    <a:schemeClr val="tx1"/>
                  </a:solidFill>
                </a:rPr>
                <a:t> kehittämisprojekti</a:t>
              </a:r>
            </a:p>
          </p:txBody>
        </p:sp>
      </p:grpSp>
      <p:grpSp>
        <p:nvGrpSpPr>
          <p:cNvPr id="230" name="Ryhmä 229"/>
          <p:cNvGrpSpPr/>
          <p:nvPr/>
        </p:nvGrpSpPr>
        <p:grpSpPr>
          <a:xfrm>
            <a:off x="8470676" y="5147001"/>
            <a:ext cx="1597334" cy="260071"/>
            <a:chOff x="4325328" y="4788201"/>
            <a:chExt cx="3032440" cy="260071"/>
          </a:xfrm>
          <a:noFill/>
        </p:grpSpPr>
        <p:sp>
          <p:nvSpPr>
            <p:cNvPr id="231" name="Pyöristetty suorakulmio 230"/>
            <p:cNvSpPr/>
            <p:nvPr/>
          </p:nvSpPr>
          <p:spPr>
            <a:xfrm>
              <a:off x="4377987" y="4788201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2" name="Pyöristetty suorakulmio 44"/>
            <p:cNvSpPr txBox="1"/>
            <p:nvPr/>
          </p:nvSpPr>
          <p:spPr>
            <a:xfrm>
              <a:off x="4325328" y="4795818"/>
              <a:ext cx="2964548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Kertakirjautuminen</a:t>
              </a:r>
            </a:p>
          </p:txBody>
        </p:sp>
      </p:grpSp>
      <p:grpSp>
        <p:nvGrpSpPr>
          <p:cNvPr id="233" name="Ryhmä 232"/>
          <p:cNvGrpSpPr/>
          <p:nvPr/>
        </p:nvGrpSpPr>
        <p:grpSpPr>
          <a:xfrm>
            <a:off x="1347108" y="1873931"/>
            <a:ext cx="1475661" cy="346612"/>
            <a:chOff x="8382068" y="1784739"/>
            <a:chExt cx="2979781" cy="866591"/>
          </a:xfrm>
          <a:noFill/>
        </p:grpSpPr>
        <p:sp>
          <p:nvSpPr>
            <p:cNvPr id="234" name="Pyöristetty suorakulmio 233"/>
            <p:cNvSpPr/>
            <p:nvPr/>
          </p:nvSpPr>
          <p:spPr>
            <a:xfrm>
              <a:off x="8382068" y="1784739"/>
              <a:ext cx="2979781" cy="8665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5" name="Pyöristetty suorakulmio 50"/>
            <p:cNvSpPr txBox="1"/>
            <p:nvPr/>
          </p:nvSpPr>
          <p:spPr>
            <a:xfrm>
              <a:off x="8407450" y="1810121"/>
              <a:ext cx="2929017" cy="81582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Aistihuone ikäihmisille</a:t>
              </a:r>
            </a:p>
          </p:txBody>
        </p:sp>
      </p:grpSp>
      <p:grpSp>
        <p:nvGrpSpPr>
          <p:cNvPr id="236" name="Ryhmä 235"/>
          <p:cNvGrpSpPr/>
          <p:nvPr/>
        </p:nvGrpSpPr>
        <p:grpSpPr>
          <a:xfrm>
            <a:off x="1459258" y="3193550"/>
            <a:ext cx="1961045" cy="405961"/>
            <a:chOff x="8382068" y="2784653"/>
            <a:chExt cx="2979781" cy="866591"/>
          </a:xfrm>
          <a:noFill/>
        </p:grpSpPr>
        <p:sp>
          <p:nvSpPr>
            <p:cNvPr id="237" name="Pyöristetty suorakulmio 236"/>
            <p:cNvSpPr/>
            <p:nvPr/>
          </p:nvSpPr>
          <p:spPr>
            <a:xfrm>
              <a:off x="8382068" y="2784653"/>
              <a:ext cx="2979781" cy="8665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8" name="Pyöristetty suorakulmio 52"/>
            <p:cNvSpPr txBox="1"/>
            <p:nvPr/>
          </p:nvSpPr>
          <p:spPr>
            <a:xfrm>
              <a:off x="8407450" y="2810035"/>
              <a:ext cx="2929017" cy="81582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Henkilötietojen tarkastaminen itseautomaatilla</a:t>
              </a:r>
            </a:p>
          </p:txBody>
        </p:sp>
      </p:grpSp>
      <p:grpSp>
        <p:nvGrpSpPr>
          <p:cNvPr id="239" name="Ryhmä 238"/>
          <p:cNvGrpSpPr/>
          <p:nvPr/>
        </p:nvGrpSpPr>
        <p:grpSpPr>
          <a:xfrm>
            <a:off x="4421532" y="2222206"/>
            <a:ext cx="1760234" cy="315329"/>
            <a:chOff x="157401" y="1814912"/>
            <a:chExt cx="2303858" cy="315329"/>
          </a:xfrm>
          <a:noFill/>
        </p:grpSpPr>
        <p:sp>
          <p:nvSpPr>
            <p:cNvPr id="240" name="Pyöristetty suorakulmio 239"/>
            <p:cNvSpPr/>
            <p:nvPr/>
          </p:nvSpPr>
          <p:spPr>
            <a:xfrm>
              <a:off x="157401" y="1846283"/>
              <a:ext cx="1647287" cy="283958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1" name="Pyöristetty suorakulmio 6"/>
            <p:cNvSpPr txBox="1"/>
            <p:nvPr/>
          </p:nvSpPr>
          <p:spPr>
            <a:xfrm>
              <a:off x="830606" y="1814912"/>
              <a:ext cx="1630653" cy="2673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Palveluohjauksen digitaaliset </a:t>
              </a:r>
              <a:br>
                <a:rPr lang="fi-FI" sz="900" b="0" kern="1200">
                  <a:solidFill>
                    <a:schemeClr val="tx1"/>
                  </a:solidFill>
                </a:rPr>
              </a:br>
              <a:r>
                <a:rPr lang="fi-FI" sz="900" b="0" kern="1200">
                  <a:solidFill>
                    <a:schemeClr val="tx1"/>
                  </a:solidFill>
                </a:rPr>
                <a:t>ratkaisut​</a:t>
              </a:r>
            </a:p>
          </p:txBody>
        </p:sp>
      </p:grpSp>
      <p:grpSp>
        <p:nvGrpSpPr>
          <p:cNvPr id="242" name="Ryhmä 241"/>
          <p:cNvGrpSpPr/>
          <p:nvPr/>
        </p:nvGrpSpPr>
        <p:grpSpPr>
          <a:xfrm>
            <a:off x="4124609" y="994557"/>
            <a:ext cx="1647287" cy="283958"/>
            <a:chOff x="157401" y="2173927"/>
            <a:chExt cx="1647287" cy="283958"/>
          </a:xfrm>
          <a:noFill/>
        </p:grpSpPr>
        <p:sp>
          <p:nvSpPr>
            <p:cNvPr id="243" name="Pyöristetty suorakulmio 242"/>
            <p:cNvSpPr/>
            <p:nvPr/>
          </p:nvSpPr>
          <p:spPr>
            <a:xfrm>
              <a:off x="157401" y="2173927"/>
              <a:ext cx="1647287" cy="283958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4" name="Pyöristetty suorakulmio 8"/>
            <p:cNvSpPr txBox="1"/>
            <p:nvPr/>
          </p:nvSpPr>
          <p:spPr>
            <a:xfrm>
              <a:off x="165718" y="2182244"/>
              <a:ext cx="1630653" cy="2673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Etävastaanotto</a:t>
              </a:r>
            </a:p>
          </p:txBody>
        </p:sp>
      </p:grpSp>
      <p:grpSp>
        <p:nvGrpSpPr>
          <p:cNvPr id="245" name="Ryhmä 244"/>
          <p:cNvGrpSpPr/>
          <p:nvPr/>
        </p:nvGrpSpPr>
        <p:grpSpPr>
          <a:xfrm>
            <a:off x="6068302" y="1568653"/>
            <a:ext cx="1346694" cy="283958"/>
            <a:chOff x="157401" y="2501571"/>
            <a:chExt cx="1647287" cy="283958"/>
          </a:xfrm>
          <a:noFill/>
        </p:grpSpPr>
        <p:sp>
          <p:nvSpPr>
            <p:cNvPr id="246" name="Pyöristetty suorakulmio 245"/>
            <p:cNvSpPr/>
            <p:nvPr/>
          </p:nvSpPr>
          <p:spPr>
            <a:xfrm>
              <a:off x="157401" y="2501571"/>
              <a:ext cx="1647287" cy="283958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7" name="Pyöristetty suorakulmio 10"/>
            <p:cNvSpPr txBox="1"/>
            <p:nvPr/>
          </p:nvSpPr>
          <p:spPr>
            <a:xfrm>
              <a:off x="165718" y="2509888"/>
              <a:ext cx="1630653" cy="2673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Ilmoittautumisautomaatit</a:t>
              </a:r>
            </a:p>
          </p:txBody>
        </p:sp>
      </p:grpSp>
      <p:grpSp>
        <p:nvGrpSpPr>
          <p:cNvPr id="248" name="Ryhmä 247"/>
          <p:cNvGrpSpPr/>
          <p:nvPr/>
        </p:nvGrpSpPr>
        <p:grpSpPr>
          <a:xfrm>
            <a:off x="4326561" y="1449335"/>
            <a:ext cx="1445335" cy="283958"/>
            <a:chOff x="157401" y="2829215"/>
            <a:chExt cx="1647287" cy="283958"/>
          </a:xfrm>
          <a:noFill/>
        </p:grpSpPr>
        <p:sp>
          <p:nvSpPr>
            <p:cNvPr id="249" name="Pyöristetty suorakulmio 248"/>
            <p:cNvSpPr/>
            <p:nvPr/>
          </p:nvSpPr>
          <p:spPr>
            <a:xfrm>
              <a:off x="157401" y="2829215"/>
              <a:ext cx="1647287" cy="283958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0" name="Pyöristetty suorakulmio 12"/>
            <p:cNvSpPr txBox="1"/>
            <p:nvPr/>
          </p:nvSpPr>
          <p:spPr>
            <a:xfrm>
              <a:off x="165718" y="2837532"/>
              <a:ext cx="1630653" cy="2673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Kotiin vietävien palvelujen </a:t>
              </a:r>
              <a:br>
                <a:rPr lang="fi-FI" sz="900" b="0" kern="1200">
                  <a:solidFill>
                    <a:schemeClr val="tx1"/>
                  </a:solidFill>
                </a:rPr>
              </a:br>
              <a:r>
                <a:rPr lang="fi-FI" sz="900" b="0" kern="1200">
                  <a:solidFill>
                    <a:schemeClr val="tx1"/>
                  </a:solidFill>
                </a:rPr>
                <a:t>kokonaisuus</a:t>
              </a:r>
            </a:p>
          </p:txBody>
        </p:sp>
      </p:grpSp>
      <p:sp>
        <p:nvSpPr>
          <p:cNvPr id="251" name="Pyöristetty suorakulmio 250"/>
          <p:cNvSpPr/>
          <p:nvPr/>
        </p:nvSpPr>
        <p:spPr>
          <a:xfrm>
            <a:off x="7969740" y="892892"/>
            <a:ext cx="1647287" cy="283958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52" name="Ryhmä 251"/>
          <p:cNvGrpSpPr/>
          <p:nvPr/>
        </p:nvGrpSpPr>
        <p:grpSpPr>
          <a:xfrm>
            <a:off x="6986433" y="3841650"/>
            <a:ext cx="1166663" cy="383726"/>
            <a:chOff x="2370944" y="1190269"/>
            <a:chExt cx="1647287" cy="2578917"/>
          </a:xfrm>
          <a:noFill/>
        </p:grpSpPr>
        <p:sp>
          <p:nvSpPr>
            <p:cNvPr id="253" name="Pyöristetty suorakulmio 252"/>
            <p:cNvSpPr/>
            <p:nvPr/>
          </p:nvSpPr>
          <p:spPr>
            <a:xfrm>
              <a:off x="2370944" y="1190269"/>
              <a:ext cx="1647287" cy="257891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4" name="Pyöristetty suorakulmio 16"/>
            <p:cNvSpPr txBox="1"/>
            <p:nvPr/>
          </p:nvSpPr>
          <p:spPr>
            <a:xfrm>
              <a:off x="2419191" y="1238516"/>
              <a:ext cx="1550793" cy="2482423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Arkistointiratkaisun käyttöönotto </a:t>
              </a:r>
            </a:p>
          </p:txBody>
        </p:sp>
      </p:grpSp>
      <p:grpSp>
        <p:nvGrpSpPr>
          <p:cNvPr id="255" name="Ryhmä 254"/>
          <p:cNvGrpSpPr/>
          <p:nvPr/>
        </p:nvGrpSpPr>
        <p:grpSpPr>
          <a:xfrm>
            <a:off x="6247240" y="4289564"/>
            <a:ext cx="1176035" cy="458991"/>
            <a:chOff x="4584486" y="1191020"/>
            <a:chExt cx="1647287" cy="458991"/>
          </a:xfrm>
          <a:noFill/>
        </p:grpSpPr>
        <p:sp>
          <p:nvSpPr>
            <p:cNvPr id="256" name="Pyöristetty suorakulmio 255"/>
            <p:cNvSpPr/>
            <p:nvPr/>
          </p:nvSpPr>
          <p:spPr>
            <a:xfrm>
              <a:off x="4584486" y="1191020"/>
              <a:ext cx="1647287" cy="4589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7" name="Pyöristetty suorakulmio 18"/>
            <p:cNvSpPr txBox="1"/>
            <p:nvPr/>
          </p:nvSpPr>
          <p:spPr>
            <a:xfrm>
              <a:off x="4597929" y="1204463"/>
              <a:ext cx="1620401" cy="43210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Toimintalähtöinen 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>
                  <a:solidFill>
                    <a:schemeClr val="tx1"/>
                  </a:solidFill>
                </a:rPr>
                <a:t>työvuorosuunnittelu</a:t>
              </a:r>
            </a:p>
          </p:txBody>
        </p:sp>
      </p:grpSp>
      <p:sp>
        <p:nvSpPr>
          <p:cNvPr id="260" name="Pyöristetty suorakulmio 20"/>
          <p:cNvSpPr txBox="1"/>
          <p:nvPr/>
        </p:nvSpPr>
        <p:spPr>
          <a:xfrm>
            <a:off x="8330406" y="2745943"/>
            <a:ext cx="1347394" cy="4321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780" tIns="13335" rIns="17780" bIns="13335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i-FI" sz="900" kern="1200">
                <a:solidFill>
                  <a:schemeClr val="tx1"/>
                </a:solidFill>
              </a:rPr>
              <a:t>Automatiikan ja robotiikan </a:t>
            </a:r>
            <a:br>
              <a:rPr lang="fi-FI" sz="900" kern="1200">
                <a:solidFill>
                  <a:schemeClr val="tx1"/>
                </a:solidFill>
              </a:rPr>
            </a:br>
            <a:r>
              <a:rPr lang="fi-FI" sz="900" kern="1200">
                <a:solidFill>
                  <a:schemeClr val="tx1"/>
                </a:solidFill>
              </a:rPr>
              <a:t>lisääminen toiminnassa</a:t>
            </a:r>
          </a:p>
        </p:txBody>
      </p:sp>
      <p:grpSp>
        <p:nvGrpSpPr>
          <p:cNvPr id="261" name="Ryhmä 260"/>
          <p:cNvGrpSpPr/>
          <p:nvPr/>
        </p:nvGrpSpPr>
        <p:grpSpPr>
          <a:xfrm>
            <a:off x="7308551" y="2283898"/>
            <a:ext cx="1321046" cy="458991"/>
            <a:chOff x="6798028" y="1720626"/>
            <a:chExt cx="1647287" cy="458991"/>
          </a:xfrm>
          <a:noFill/>
        </p:grpSpPr>
        <p:sp>
          <p:nvSpPr>
            <p:cNvPr id="262" name="Pyöristetty suorakulmio 261"/>
            <p:cNvSpPr/>
            <p:nvPr/>
          </p:nvSpPr>
          <p:spPr>
            <a:xfrm>
              <a:off x="6798028" y="1720626"/>
              <a:ext cx="1647287" cy="4589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3" name="Pyöristetty suorakulmio 22"/>
            <p:cNvSpPr txBox="1"/>
            <p:nvPr/>
          </p:nvSpPr>
          <p:spPr>
            <a:xfrm>
              <a:off x="6811471" y="1734069"/>
              <a:ext cx="1620401" cy="43210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Sisäisten prosessien </a:t>
              </a:r>
              <a:br>
                <a:rPr lang="fi-FI" sz="900" b="0" kern="1200">
                  <a:solidFill>
                    <a:schemeClr val="tx1"/>
                  </a:solidFill>
                </a:rPr>
              </a:br>
              <a:r>
                <a:rPr lang="fi-FI" sz="900" b="0" kern="1200">
                  <a:solidFill>
                    <a:schemeClr val="tx1"/>
                  </a:solidFill>
                </a:rPr>
                <a:t>virtaviivaistaminen ja </a:t>
              </a:r>
              <a:br>
                <a:rPr lang="fi-FI" sz="900" b="0" kern="1200">
                  <a:solidFill>
                    <a:schemeClr val="tx1"/>
                  </a:solidFill>
                </a:rPr>
              </a:br>
              <a:r>
                <a:rPr lang="fi-FI" sz="900" b="0" kern="1200">
                  <a:solidFill>
                    <a:schemeClr val="tx1"/>
                  </a:solidFill>
                </a:rPr>
                <a:t>sähköistäminen</a:t>
              </a:r>
            </a:p>
          </p:txBody>
        </p:sp>
      </p:grpSp>
      <p:grpSp>
        <p:nvGrpSpPr>
          <p:cNvPr id="264" name="Ryhmä 263"/>
          <p:cNvGrpSpPr/>
          <p:nvPr/>
        </p:nvGrpSpPr>
        <p:grpSpPr>
          <a:xfrm>
            <a:off x="3964189" y="3159841"/>
            <a:ext cx="1365545" cy="231057"/>
            <a:chOff x="6798028" y="2250232"/>
            <a:chExt cx="1647287" cy="458991"/>
          </a:xfrm>
          <a:noFill/>
        </p:grpSpPr>
        <p:sp>
          <p:nvSpPr>
            <p:cNvPr id="265" name="Pyöristetty suorakulmio 264"/>
            <p:cNvSpPr/>
            <p:nvPr/>
          </p:nvSpPr>
          <p:spPr>
            <a:xfrm>
              <a:off x="6798028" y="2250232"/>
              <a:ext cx="1647287" cy="4589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6" name="Pyöristetty suorakulmio 24"/>
            <p:cNvSpPr txBox="1"/>
            <p:nvPr/>
          </p:nvSpPr>
          <p:spPr>
            <a:xfrm>
              <a:off x="6811471" y="2263675"/>
              <a:ext cx="1620401" cy="43210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Etätyön mahdollistavat digitaaliset ratkaisut​</a:t>
              </a:r>
            </a:p>
          </p:txBody>
        </p:sp>
      </p:grpSp>
      <p:grpSp>
        <p:nvGrpSpPr>
          <p:cNvPr id="267" name="Ryhmä 266"/>
          <p:cNvGrpSpPr/>
          <p:nvPr/>
        </p:nvGrpSpPr>
        <p:grpSpPr>
          <a:xfrm>
            <a:off x="9911520" y="5443272"/>
            <a:ext cx="1181606" cy="458991"/>
            <a:chOff x="6798028" y="2779838"/>
            <a:chExt cx="1647287" cy="458991"/>
          </a:xfrm>
          <a:noFill/>
        </p:grpSpPr>
        <p:sp>
          <p:nvSpPr>
            <p:cNvPr id="268" name="Pyöristetty suorakulmio 267"/>
            <p:cNvSpPr/>
            <p:nvPr/>
          </p:nvSpPr>
          <p:spPr>
            <a:xfrm>
              <a:off x="6798028" y="2779838"/>
              <a:ext cx="1647287" cy="4589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9" name="Pyöristetty suorakulmio 26"/>
            <p:cNvSpPr txBox="1"/>
            <p:nvPr/>
          </p:nvSpPr>
          <p:spPr>
            <a:xfrm>
              <a:off x="6811471" y="2793281"/>
              <a:ext cx="1620401" cy="43210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Sopimushallinnan kokonaisuuden digitalisointi​</a:t>
              </a:r>
            </a:p>
          </p:txBody>
        </p:sp>
      </p:grpSp>
      <p:grpSp>
        <p:nvGrpSpPr>
          <p:cNvPr id="270" name="Ryhmä 269"/>
          <p:cNvGrpSpPr/>
          <p:nvPr/>
        </p:nvGrpSpPr>
        <p:grpSpPr>
          <a:xfrm>
            <a:off x="9918336" y="4659485"/>
            <a:ext cx="1193591" cy="458991"/>
            <a:chOff x="6852405" y="3309445"/>
            <a:chExt cx="1647287" cy="458991"/>
          </a:xfrm>
          <a:noFill/>
        </p:grpSpPr>
        <p:sp>
          <p:nvSpPr>
            <p:cNvPr id="271" name="Pyöristetty suorakulmio 270"/>
            <p:cNvSpPr/>
            <p:nvPr/>
          </p:nvSpPr>
          <p:spPr>
            <a:xfrm>
              <a:off x="6852405" y="3309445"/>
              <a:ext cx="1647287" cy="45899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2" name="Pyöristetty suorakulmio 28"/>
            <p:cNvSpPr txBox="1"/>
            <p:nvPr/>
          </p:nvSpPr>
          <p:spPr>
            <a:xfrm>
              <a:off x="6865848" y="3322888"/>
              <a:ext cx="1620401" cy="432105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Ostopalveluiden </a:t>
              </a:r>
              <a:br>
                <a:rPr lang="fi-FI" sz="900" kern="1200">
                  <a:solidFill>
                    <a:schemeClr val="tx1"/>
                  </a:solidFill>
                </a:rPr>
              </a:br>
              <a:r>
                <a:rPr lang="fi-FI" sz="900" kern="1200">
                  <a:solidFill>
                    <a:schemeClr val="tx1"/>
                  </a:solidFill>
                </a:rPr>
                <a:t>sähköinen järjestelmä</a:t>
              </a:r>
            </a:p>
          </p:txBody>
        </p:sp>
      </p:grpSp>
      <p:sp>
        <p:nvSpPr>
          <p:cNvPr id="273" name="Pyöristetty suorakulmio 272"/>
          <p:cNvSpPr/>
          <p:nvPr/>
        </p:nvSpPr>
        <p:spPr>
          <a:xfrm>
            <a:off x="8150563" y="1382342"/>
            <a:ext cx="1479953" cy="407710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74" name="Ryhmä 273"/>
          <p:cNvGrpSpPr/>
          <p:nvPr/>
        </p:nvGrpSpPr>
        <p:grpSpPr>
          <a:xfrm>
            <a:off x="8910043" y="793092"/>
            <a:ext cx="1421678" cy="453810"/>
            <a:chOff x="9065947" y="2524189"/>
            <a:chExt cx="1647287" cy="577989"/>
          </a:xfrm>
          <a:noFill/>
        </p:grpSpPr>
        <p:sp>
          <p:nvSpPr>
            <p:cNvPr id="275" name="Pyöristetty suorakulmio 274"/>
            <p:cNvSpPr/>
            <p:nvPr/>
          </p:nvSpPr>
          <p:spPr>
            <a:xfrm>
              <a:off x="9065947" y="2524189"/>
              <a:ext cx="1647287" cy="577989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6" name="Pyöristetty suorakulmio 32"/>
            <p:cNvSpPr txBox="1"/>
            <p:nvPr/>
          </p:nvSpPr>
          <p:spPr>
            <a:xfrm>
              <a:off x="9082876" y="2541118"/>
              <a:ext cx="1613429" cy="544131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Asiakas- ja potilasvirtojen analysointi ja mm. paljon palveluita käyttävien asiakkaiden tunnistaminen​</a:t>
              </a:r>
            </a:p>
          </p:txBody>
        </p:sp>
      </p:grpSp>
      <p:grpSp>
        <p:nvGrpSpPr>
          <p:cNvPr id="277" name="Ryhmä 276"/>
          <p:cNvGrpSpPr/>
          <p:nvPr/>
        </p:nvGrpSpPr>
        <p:grpSpPr>
          <a:xfrm>
            <a:off x="7043309" y="2914090"/>
            <a:ext cx="1285104" cy="260071"/>
            <a:chOff x="4377987" y="2087455"/>
            <a:chExt cx="2979781" cy="260071"/>
          </a:xfrm>
          <a:noFill/>
        </p:grpSpPr>
        <p:sp>
          <p:nvSpPr>
            <p:cNvPr id="278" name="Pyöristetty suorakulmio 277"/>
            <p:cNvSpPr/>
            <p:nvPr/>
          </p:nvSpPr>
          <p:spPr>
            <a:xfrm>
              <a:off x="4377987" y="2087455"/>
              <a:ext cx="2979781" cy="26007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9" name="Pyöristetty suorakulmio 26"/>
            <p:cNvSpPr txBox="1"/>
            <p:nvPr/>
          </p:nvSpPr>
          <p:spPr>
            <a:xfrm>
              <a:off x="4385604" y="2095072"/>
              <a:ext cx="2964547" cy="24483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OMNI 360 käyttöönotto</a:t>
              </a:r>
            </a:p>
          </p:txBody>
        </p:sp>
      </p:grpSp>
      <p:grpSp>
        <p:nvGrpSpPr>
          <p:cNvPr id="280" name="Ryhmä 279"/>
          <p:cNvGrpSpPr/>
          <p:nvPr/>
        </p:nvGrpSpPr>
        <p:grpSpPr>
          <a:xfrm>
            <a:off x="2484643" y="2348732"/>
            <a:ext cx="1410094" cy="476397"/>
            <a:chOff x="373905" y="4527167"/>
            <a:chExt cx="2979781" cy="339367"/>
          </a:xfrm>
          <a:noFill/>
        </p:grpSpPr>
        <p:sp>
          <p:nvSpPr>
            <p:cNvPr id="281" name="Pyöristetty suorakulmio 280"/>
            <p:cNvSpPr/>
            <p:nvPr/>
          </p:nvSpPr>
          <p:spPr>
            <a:xfrm>
              <a:off x="373905" y="4527167"/>
              <a:ext cx="2979781" cy="339367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2" name="Pyöristetty suorakulmio 18"/>
            <p:cNvSpPr txBox="1"/>
            <p:nvPr/>
          </p:nvSpPr>
          <p:spPr>
            <a:xfrm>
              <a:off x="383845" y="4537107"/>
              <a:ext cx="2959901" cy="31948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19050" rIns="25400" bIns="1905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kern="1200">
                  <a:solidFill>
                    <a:schemeClr val="tx1"/>
                  </a:solidFill>
                </a:rPr>
                <a:t>Hoidon tarpeen arvioinnin sähköinen työkalu</a:t>
              </a:r>
            </a:p>
          </p:txBody>
        </p:sp>
      </p:grpSp>
      <p:sp>
        <p:nvSpPr>
          <p:cNvPr id="283" name="Pyöristetty suorakulmio 14"/>
          <p:cNvSpPr txBox="1"/>
          <p:nvPr/>
        </p:nvSpPr>
        <p:spPr>
          <a:xfrm>
            <a:off x="7828245" y="637820"/>
            <a:ext cx="1040977" cy="5190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780" tIns="13335" rIns="17780" bIns="13335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i-FI" sz="900" kern="1200">
                <a:solidFill>
                  <a:schemeClr val="tx1"/>
                </a:solidFill>
              </a:rPr>
              <a:t>Asiakkaan itse tuottaman sähköisen tiedon hyötykäyttö</a:t>
            </a:r>
          </a:p>
        </p:txBody>
      </p:sp>
      <p:sp>
        <p:nvSpPr>
          <p:cNvPr id="284" name="Pyöristetty suorakulmio 30"/>
          <p:cNvSpPr txBox="1"/>
          <p:nvPr/>
        </p:nvSpPr>
        <p:spPr>
          <a:xfrm>
            <a:off x="7751009" y="1304302"/>
            <a:ext cx="1023702" cy="56378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780" tIns="13335" rIns="17780" bIns="13335" numCol="1" spcCol="1270" anchor="ctr" anchorCtr="0">
            <a:noAutofit/>
          </a:bodyPr>
          <a:lstStyle/>
          <a:p>
            <a:pPr lvl="0" algn="ctr" defTabSz="311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i-FI" sz="900" kern="1200">
                <a:solidFill>
                  <a:schemeClr val="tx1"/>
                </a:solidFill>
              </a:rPr>
              <a:t>Olemassa olevan ja tarvittavan </a:t>
            </a:r>
            <a:br>
              <a:rPr lang="fi-FI" sz="900" kern="1200">
                <a:solidFill>
                  <a:schemeClr val="tx1"/>
                </a:solidFill>
              </a:rPr>
            </a:br>
            <a:r>
              <a:rPr lang="fi-FI" sz="900" kern="1200">
                <a:solidFill>
                  <a:schemeClr val="tx1"/>
                </a:solidFill>
              </a:rPr>
              <a:t>tiedon tunnistaminen​</a:t>
            </a:r>
          </a:p>
        </p:txBody>
      </p:sp>
      <p:grpSp>
        <p:nvGrpSpPr>
          <p:cNvPr id="285" name="Ryhmä 284"/>
          <p:cNvGrpSpPr/>
          <p:nvPr/>
        </p:nvGrpSpPr>
        <p:grpSpPr>
          <a:xfrm>
            <a:off x="6014334" y="991903"/>
            <a:ext cx="1647287" cy="283958"/>
            <a:chOff x="157401" y="1518640"/>
            <a:chExt cx="1647287" cy="283958"/>
          </a:xfrm>
          <a:noFill/>
        </p:grpSpPr>
        <p:sp>
          <p:nvSpPr>
            <p:cNvPr id="286" name="Pyöristetty suorakulmio 285"/>
            <p:cNvSpPr/>
            <p:nvPr/>
          </p:nvSpPr>
          <p:spPr>
            <a:xfrm>
              <a:off x="157401" y="1518640"/>
              <a:ext cx="1647287" cy="283958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7" name="Pyöristetty suorakulmio 4"/>
            <p:cNvSpPr txBox="1"/>
            <p:nvPr/>
          </p:nvSpPr>
          <p:spPr>
            <a:xfrm>
              <a:off x="165718" y="1526957"/>
              <a:ext cx="1630653" cy="26732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3335" rIns="17780" bIns="13335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i-FI" sz="900" b="0" kern="1200">
                  <a:solidFill>
                    <a:schemeClr val="tx1"/>
                  </a:solidFill>
                </a:rPr>
                <a:t>Omaa terveyttä ja hyvinvointia </a:t>
              </a:r>
              <a:br>
                <a:rPr lang="fi-FI" sz="900" b="0" kern="1200">
                  <a:solidFill>
                    <a:schemeClr val="tx1"/>
                  </a:solidFill>
                </a:rPr>
              </a:br>
              <a:r>
                <a:rPr lang="fi-FI" sz="900" b="0" kern="1200">
                  <a:solidFill>
                    <a:schemeClr val="tx1"/>
                  </a:solidFill>
                </a:rPr>
                <a:t>edistävät ratkaisut</a:t>
              </a:r>
            </a:p>
          </p:txBody>
        </p:sp>
      </p:grpSp>
      <p:sp>
        <p:nvSpPr>
          <p:cNvPr id="288" name="Pyöristetty suorakulmio 32"/>
          <p:cNvSpPr txBox="1"/>
          <p:nvPr/>
        </p:nvSpPr>
        <p:spPr>
          <a:xfrm>
            <a:off x="7716787" y="3190621"/>
            <a:ext cx="982433" cy="3488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400" tIns="19050" rIns="25400" bIns="1905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i-FI" sz="900" kern="1200">
                <a:solidFill>
                  <a:schemeClr val="tx1"/>
                </a:solidFill>
              </a:rPr>
              <a:t>Sähköinen allekirjoitusratkaisu</a:t>
            </a:r>
          </a:p>
        </p:txBody>
      </p:sp>
      <p:sp>
        <p:nvSpPr>
          <p:cNvPr id="21" name="Suorakulmio 20"/>
          <p:cNvSpPr/>
          <p:nvPr/>
        </p:nvSpPr>
        <p:spPr>
          <a:xfrm>
            <a:off x="0" y="0"/>
            <a:ext cx="1347108" cy="2432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882ECC-E5CF-4F01-B365-89A9A08BF569}"/>
              </a:ext>
            </a:extLst>
          </p:cNvPr>
          <p:cNvSpPr txBox="1"/>
          <p:nvPr/>
        </p:nvSpPr>
        <p:spPr>
          <a:xfrm rot="20418848">
            <a:off x="10371112" y="638022"/>
            <a:ext cx="784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Asiakkaat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B505E7A5-393A-4E20-B56B-EB4F85A9B0F6}"/>
              </a:ext>
            </a:extLst>
          </p:cNvPr>
          <p:cNvSpPr txBox="1"/>
          <p:nvPr/>
        </p:nvSpPr>
        <p:spPr>
          <a:xfrm rot="19402168">
            <a:off x="10315981" y="937454"/>
            <a:ext cx="995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Sisäinen digi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946B4295-A95C-437C-BA79-004EE76FBC18}"/>
              </a:ext>
            </a:extLst>
          </p:cNvPr>
          <p:cNvSpPr txBox="1"/>
          <p:nvPr/>
        </p:nvSpPr>
        <p:spPr>
          <a:xfrm rot="18188911">
            <a:off x="10590983" y="1258101"/>
            <a:ext cx="995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Teknologiat</a:t>
            </a:r>
          </a:p>
        </p:txBody>
      </p:sp>
    </p:spTree>
    <p:extLst>
      <p:ext uri="{BB962C8B-B14F-4D97-AF65-F5344CB8AC3E}">
        <p14:creationId xmlns:p14="http://schemas.microsoft.com/office/powerpoint/2010/main" val="3806768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i-FI" sz="3200" dirty="0"/>
              <a:t>Digikehittäjän rooli ja tehtävänkuva </a:t>
            </a:r>
            <a:r>
              <a:rPr lang="fi-FI" sz="2000" dirty="0"/>
              <a:t>(20 % työajasta)</a:t>
            </a:r>
            <a:endParaRPr lang="fi-FI"/>
          </a:p>
        </p:txBody>
      </p:sp>
      <p:graphicFrame>
        <p:nvGraphicFramePr>
          <p:cNvPr id="2" name="Kaaviokuva 1"/>
          <p:cNvGraphicFramePr/>
          <p:nvPr>
            <p:extLst>
              <p:ext uri="{D42A27DB-BD31-4B8C-83A1-F6EECF244321}">
                <p14:modId xmlns:p14="http://schemas.microsoft.com/office/powerpoint/2010/main" val="3435154392"/>
              </p:ext>
            </p:extLst>
          </p:nvPr>
        </p:nvGraphicFramePr>
        <p:xfrm>
          <a:off x="838200" y="1875989"/>
          <a:ext cx="10515600" cy="4533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0157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28683" y="765356"/>
            <a:ext cx="9585960" cy="848601"/>
          </a:xfrm>
        </p:spPr>
        <p:txBody>
          <a:bodyPr>
            <a:normAutofit/>
          </a:bodyPr>
          <a:lstStyle/>
          <a:p>
            <a:r>
              <a:rPr lang="fi-FI" sz="3600" dirty="0"/>
              <a:t>Kehittämisen johtamisen malli</a:t>
            </a:r>
          </a:p>
        </p:txBody>
      </p:sp>
      <p:sp>
        <p:nvSpPr>
          <p:cNvPr id="3" name="AutoShape 2" descr="data:image/png;base64,iVBORw0KGgoAAAANSUhEUgAABe4AAAJMCAYAAACM8jasAAAgAElEQVR4Aey9B3RU15aue8d949z33unRp2+f7ndvn9P3dPdp+2TnnG1sjCM2ToCNjbHB2CYYg00wOGCDScaASSbnnEHkIHISQgJEVgKRFUAISYAI/xtzq2Zp1mLvUongLjx+xthjrTnXP+dc+9ur2KVVW6X/Bv4jARIgARIgARIgARIgARIgARIgARIgARIgARIgARIgARKIGwL/LW5mwomQAAmQAAmQAAmQAAmQAAmQAAmQAAmQAAmQAAmQAAmQAAmAG/dcBC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iAG/dcAyRAAiRAAiRAAiRAAiRAAiRAAiRAAiRAAiRAAiRAAiQQRwS4cR9HF4NTIQESIAESIAESIAESIAESIAESIAESIAESIAESIAESIAFu3HMNkAAJkAAJkAAJkAAJkAAJkAAJkAAJkAAJkAAJkAAJkEAcEeDGfRxdDE6FBEiABEiABEiABEiABEiABEiABEiABEiABEiABEiABLhxzzVAAiRAAiRAAiRAAiRAAiRAAiRAAiRAAiRAAiRAAiRAAnFEgBv3cXQxOBUSIAESIAESIAESIAESIAESIAESIAESIAESIAESIAES4MY91wAJkAAJkAAJkAAJkAAJkAAJkAAJkAAJkAAJkAAJkAAJxBEBbtzH0cXgVEiABEiABEiABEiABEiABEiABEiABEiABEiABEiABEjgut+4v3jxIniQAdcA1wDXANfA9bwGfsq3I9czJ86dr3OuAa4BrgGuAVkDP9U/rjeuN64BrgGuAa6B630N/FT3TNa5NgSu6417vxfPhQsX4HecP38ePMiAa4BrgGuAa+CnXAN+9yPr87uPXZvbPXw/5LZzcfs/JSfW4uuSa4BrgGuAa8C9D7n2T3nPlHuxXz13Tmpz/XL9cg1wDXANcA381GtA70F+rd897Fr9nMm815bAdbtxr4vw5MmTOHjwIDIyMpCenh4+9u7dCx5kwDXANcA1wDUQT2tA71OZmZk4dOgQzpw5432orPc0aa/FP81fWlqKo0ePXnLPlHnFEyfOha9brgGuAa4BrgFZA3J/kp/z9u3bh6KiIpw7dy5iQ/1a3DMlp9w3pVZ+fr5Xmz9rcj3y/ySuAa4BroF4XwP6s2ZWVpZ3/yorK/MebNafBa/VPZN5ry2B63LjXhedtKtXr0aPHj3w4YcfonHjxhHHe++9Bx5kwDXANcA1wDUQD2vA3qOaN2+Onj17YteuXSgpKYnYvL/at317z9yzZw+GDBmCJk2a4P333+c9k+8T+D6Ja4BrgGsgbteA3jfl57zWrVtj5cqVyMvLi7hnyj3uav/T++aJEycwZcoUtGvXDh988EHEPVPmFg/vLTgHvsflGuAa4BrgGpA1oPdMaVu2bIlJkyYhJyfH+xBansjXe9vVvmcy37UncN1t3Otik1YW37hx41C9enX837/8O/z3v/uf+MW//Cd+8ds/8CADrgGuAa4BroH4XAO/uQF/9y//jtvvuQ8DBw7EgQMHcPbs2Wv2NITeN+WeuXbtWrz77rv45S//X/zy7/8H/vlf/w6/veEfQsevYuiL1uo0Nprf1fjFi8/6bd+Nj2brmI13c6tGWquzftsP0rh5rS6oH62mjbH1bd+tacdsPyiX67d2tL4di6VOLBrJafPafrT4WHRubs0X5Ndxbd0aamvrp7O5o+k0Vlqrs31XY8e0L6323VzWthrrtzVcv5vbam0+2w/S2NxuXhtvx6zfxtsart+NUa3N68aoxs+v+bRVrbVt7iC/xvm1NsaOu35rB/Ul3o5Fy2fHtC+xfvGu30/jVzsWnZtb5xKZ7zf/+Sv8y3/8A37zf/4/tGvXFps2bYL89pjdhJD73NX6Z++Zhw8fRseOHXHjjTfgV3//C/zrb/4v3PSXX/AgA64BrgGuAa6BuFwDf/vLL/CXP/4Cv/+PX6FevdcwZ84cFBcXex942/vm1bpnMs9PQ+C62rjXN1LSyqKT74+SJy8avPMOfv2v/47/5w/34H++2gb/9NY3+Kf6nfDr+p3CrfatX/s6pq34dcz2dVxb1VjbT686ba1e+q4dpPPL7cZaW/WaT223ZpBfc7l69WtetauiC6oZ5NcaOq5tUM0gv8TZMZvX+quiu5K5aB1t3fn45XY11vbT++WOpvPT2xrSV1tbm8/2dVxbv9x+etVpGy1ex6TVvsb55XY11lZ9tHhXY+O1L632o+Wqik7rujFBfltfNToXO6Z9N6/63Zggf1V0Op+gmkF+G+fWU9tqdK7aqsbafvqq6vz0tob01fb6r3+Bv3/0dfz6T3fgkUcfxcpVq1BYWBh+Q2XfVF3pZoTeN/WeKU/4f/vtt/jNb/83/v3P/4wab/0Jb31+F97+6m7U/7K8ffvLu/H2l3ehvrRfST/Uaj+kk/Gwxot3dSY+lMOroXVsjJfL1gzNRWpqXasP+SPnbOZq5mxrRszZmf+l51leuzy+4tzC5yw15Fy0lp6X4w/rg+bsnGP5tag4l8g5CyPDJlw7pA/ZERrLzZtbRW5v/qFxe54Rc/bWgl0bFSzC525rhPPptTOM3Gtp+IXnHJpjeA56jmFO5XMJcwmfs52X1PSZs1evgl+4ht+ctd4lc67gFzlnu37tXETvzDmU29b3WOq5hhiEX5d6LpYzXzMVrz3lYtZCmK1dv+ZahnmHYyrWRfg1qHpzPSKvZcXaDtfzYszr1MZqPml1zqYfzuGtU2cNqd6MRa4/8/9x6Jykhne46y98zrZG/L5m3uxwJ1748CbccOs/4657b8OgQYO8r3yTr7GRe9u1umdK3oKCAkyePBn3338v/vqXX6Hea3+HQb1/jeH9/wnD+/8aw/v9U+iQvrG9cRkL+SNsiQ0dNl7yiV982vdqaD3N51fT1Th2RD6/eDungDnruUTM2ZxHRA2nvo0Jc3I11tb5iM9yDdlhTlr/cuZscmmN8HXxqemdg52jWzOIq8a4ej9br7GpL7zsvCI4B9VULqF8Nj4iX1C81gyYo5cvNBbmEooJ2zoH8dt8QTWNPmKOIRbhczDxmldqal9aG+/ZJkbG/OZoY7x+Febs1rQ1wn2Zg+YMzeeqzjnEz8up56hcQnU9TkYXMR+NCfHzGLlzljx6DiG9XhePgT0vran6UK6ImiG9x0jr65xDrdV7Ndx8Jm+sc9br79XVOSuXUD49L51b2L6cOWtuy1bOQxn51NQxy1Xnouepc3K4DOv7a/Tr/o94+flf4v57/wMffdTc+7o3/XpW977502w7s8qVEriuN+7lDduxY8cwfMQIPPbUc/jlH+7Gb5sNxO97rMQN/VJwIw8y4BrgGuAa4BqIszVwww+b8Lu2E/BPT72Lf/ztv6FN23bYunUr5DsI5QNp9w3VlWzeuxv38gGBfOBdu85r+PNt/4Y6re7AtzNrYuDaOjzIgGuAa4BrgGsg7tbAgDW10S3hRbze5i7cePNv8Ea9upg7d653z7Sb93YD/3J/QHbvmadPn/a+ZqBt2zZ4/LG/4P13/gGblv8Opw7dgOLDN/IgA64BrgGuAa6BuFoDpw7diBP7bsDkkb/BKy/+Ix577G7vA2/526Byz/T7WfNy75mM++kIXDcb9/pGSlp5YyYLThaefDdwauoWfPNtF/z+5rvwv2t+gD98PQu3DE3DrSP34LaRe7xW+n62+oPay4m3MbYfVMP1uzGufaV6N15sW8P2/bSuPhbbzePWcG1X72fbGNv304rP1bh2UJz6Xb1rq862rsa1rdav7+pdu7IYV+/alcXLeCwxNo+rd22r1b7V2L6OV9a6Ma7txrvjru3q/WwbY/t+WvG5mspsN09V9W68Owc3X2V6N95P7/rcGq7t6v1qxBJj87h617Za7VuN7fvNR2NsW+WYEbtx84Ak3PjJUPzjLQ/j3keqYeSoUZBfybeb9/a+dzlvCzTe3jN1E2LCxAl49PEHUf3Vm9Gyb3UM3VAfo7e+izFbG3qt9C+1ZUzHtRVdhX+Ml6M8VvyR+WyMaqLVrMhbPh8bXzHm1oi0K+pUzF1rludz52x1Ff2Kepdy0XzKwr9meS6tWd5WnJe1NT645pXP2V4bt3a5HVnDnqOepxt3qb/iWpTXk5wV56x9jdMaFXkr4lWjY9pG+iufs62pfclVka+iZqTfaoKvpZ6DX+6KGpHxElOhr6gvPhujGreGtS9nznYtVNRwr1P5vMrnE8k5qGakP/K83DnbuuU1KuprTX9/uU7jg2te+ZwtJzsXqa1ztNfSnqNq3LhL/RWc+JpRrqO3vIthmxrgu4TaePzVv+L+R29H+/afeX+wVr5mzm5E6H3vSu+Zet+Ue/KpU6ewZMkSNGr4Jl58/nf4sddvUZjzN5w/fgtw8lbg5G2h1u2LHcth42PJUVW93xxsDtv30/rNKZYYm8vVu7bVat/VWNv2Ve+2rsa1Xb1ru3rXdvViuxrX9ouxPlfv2larfauxfR2vrHVjXNuNd8crs914sW2M7ftp/XxujGu7Me64a7t6P9vG2L6fVnyuxrWD4tTv6l1bdbZ1Nda2fRtj+67Gta3Wr+/qXftqxdg8bg3XtlrtW43t63hlrRvj2m68O16Z7caLbWNs3097Ky6euBUHd/0N33/7f/Dk4/+OV199CZuSkrzf8L5a98zLuc8y5vIJXNcb9/JmSn7lQ566nz9/Pl6r+wZ+e8cj+MOHPXFnv7V4YOxePDAunQcZcA1wDXANcA3E1xoYuwd3/bAKN77VAb/92114q8G73hOEskFwNd5Q6eaFtLoBIXllk0OeupevzGnZqiUeefJuvNrkXvSaWw/jtzXBhLSmocP21Xc1WskblDvIf6V1r1VemVdQ7iD/1TiXa5nbb37Xql40fn7zqIovaM7iDxqrSn4/7bXMG5Q7yO83v6r4JO+V5I4Wa8eC+lWZayxaWycWfayaoLziDxqLNXeQ7lrmDcod5A+aY6z+2POOT2uKsVs+RIueT+PBp/+KGs884T1BKH88Vn4WlPub3Ov03nc5PxprrHvPlA+89+/fj759f8ArLz+GN+v8LySvuBmnDt+LiycfAHiQAdcA1wDXANdAnK2Bc8cfwJpFt+DjJv+BO+/4A7744nOkpaV5fyPG/Vnzcu6ZjPlpCVzXG/eyASFv1oqKirxNCPkjf7ff+wBufKEh7vhyHB4fk4YnJ2fyIAOuAa4BrgGugbhbA0+M3YEHey3E76q9hr/ceT/atmuHPXv2ePc198n7qr410A0Iu3GvH3bLb6rl5eVh+vTpqF3nVVR7/g581ONZjN7YDJPTWmHqzk94kAHXANcA1wDXQNytgUHLGuONjx/BnQ/8BbVq1UJycjJk817ub1e6ea/3Tb+Ne/2auTZtWuHRR25Ez85/wN7UB3Am/wmg6EkeZMA1wDXANcA1EHdrIC+7GqaOuQ01nvgt7rnndowbNw4HDx70HuTSe6Z+6F3VnzWp/2kJ/Cw27nUTYvPmzXj//ffx13sfxl9fb4nqA5aj1vQs1JqRhVozefzUDF78CZjHWuNq666E5c95LrGeWzzxux7nTH7+/59fd9dyRhZqTtmDe9v8iP+4tzqefvY5jB492tuE0CcI9XsIZUOhKv90A8Jv4760tNT7wDszMxPdunVD9acexaM1b0avGQ0xeUtbzNrVAbPDx+ehvrTal3Hbd/V2LFpfx7TVvGprq/ldO8ivOmm1r7n9YlydavxiNJ+2qlVbWz+/HbN91Wo9Oxatr2Paah7XDvKrTltXJ347Fq1vxzSPtNYvfbW1Va3a2rp+tbUN0onfjkXr65i2QbmD/BqnrasTvx2zfdVKG01nY6zO+jWHbTW/qwvyq87WcPOpRv3W1rw6prbN5+rV1tbGaB47ZvuqrUxnY6Svtraax7WD/KrT1tWJ345F69sxzSOt9UtfbW1Vq7a2rl9tbYN04rdj0fo6pm1Q7iC/xmnr6sRvx2y/XDtzZ3t0n9gAL7x1P2659SZ06dLF+8Bbfha80icI9b7pt3FfXFzsbXbIH6p99ZUXcN89/wtTx96Do1nP4GJRLeCUc1hfUN/GFL0YmcPGxKJz9W4+zWF1ti/jru0Xoz5PHzBnN08sc4m1/iW5Q9zdGq5O5x2kc/VWZ8dsX3P6tVZn+/Y8bY0Iv7uWHM5a75K8RmfHgvqax6+1MRFzMzUi/FHmbHPZvlvXjgX1bUwQP6vx5ngZc7Y5os3FjgXFRPiv4ly8c3O4ay07L9u3MdeSn61p+zo/be1YUD+WOdtYT+9w9qvn6myOoL6di+bU1sZYXRDnS/RmznbM9rWWtnYsoH/x5IvI3FYD33e5FX/+47+gaZMPkJiY6P0caB8S4+Z9VX7K/q/R/mw27uWPLcinRxMmTMAT1Z/EDQ/UwP2t+uCNWZmol7AP9RL2X3K86eMT3eX4bYz0ra21g/yXU1NzautXr7K8scRczTkH1dNz0DZIF+tcbLztuzzsmO3rPFTvNyY+P7+NjRavY6q3uWxfx1Vvx2w/mk7HRB8txuq077Y2PqhvY4Jqun7X1hxBfhmXMavz66tP26AYHZc2qGaQX2M0R1V0Nkb7to2WKxZdtHgZ0xxBfRkPGrN+zaN6vzHx+fltbLR4HVO9zWX7Oq56O2b70XQ6JvpoMVanfbe18X79N+Zk4+VRG3D7m5/gbw9Uw9tvv41t27Zd8oZKNxRifaug+qCNe/lKnvz8fCxevBjvNX4Pf7vtRrzZ4gmMXdsWc/d0wrz0zuYIssVvx6L17Vi03Dpm9dJXW1tXZzUy5uqs3o5F6+uYtjaH9m3r6nTM9astrfZFG61vxzSvX4zqtFWN2tpqDteOxW9jovV1TNtYcqtGWo3TVsfUllb7Vq86bV2d+t0Yq7N5rS7Ib3Navfo1ztZwdapRv7U1j45ZW/uuXm1tXZ347Zjtq1baaDobY3XWrzlsTu27uiC/6mwNN69q1G9tzatjatt8rl5tbW2M9m3r6nRM/HYsWl/HtLU5tG/bIF00vx2zfTdvtDHVikZ12tox6VuN2qqxbYzxezthUlJ7tO1dB/c/fjMeeuhBzJo1C0eOHAk/QSgfeNt7YFXvm0Eb98ePH0dKSgq6du2C3//+d/iw0Z+xdlkNnD/5BnCqHlAcOqTv2W8CxW+W9+24+LzDifHiZczGh/qnQv5wjVBejYmoqfEmf2DNgDlGzFfySD1b09aIdc4a49a08c6cLznv0Fy8+Wi+UIzHIJTrEi5Go2PSeufpxHjjRh/W+FxLb35OfFXmbOeife889Dx1jqH5BM3Zm37BhsAAACAASURBVOPlztnWsNdC+j7n7M3BrgWrsfF2zqFc3jmaeaodcc42n+aIFm9rmv4l16GKc76c14y9DnzN+K8fvmYcLmbN6utBX2PeGtTXgH2dhvreegu9NsKvIaMPxRcfq4Pk1c/i9VdvQLXH7kL37t0hD29dzb8RE+t9lrrLJ/Cz2biXr8uRTQj53qb27dvjvmo18Lfn3sRL/eaj4dwMNF6Ug/d/JgfPJT6vpVwXXpv4vTZ8/cfftbkeXzPRXuN2zPajrT3RNUrIwIs9p+LOVxrhvkcfxw8//OC9oZInCO3TELoREcstX7XRNu7l6wXS09MxZMgQPFfzGdzxwJ/w9eB3MHVTRyzO6InFmT2xJLO8lb7afr6gcT+tn0/jtYbaotXD9Vlb+9L65ffzaYxffh3TfNHiVaMxms/GqM9qtO/Gq23j1acxfvn8fKp3411bY21N9WkOO6bxfj7Vq0Ztv3x+PtW78a6tsXYO6tMcdkzj/XyqV43afvn8fKp349WOVjOWfNHitYbOQfPZGPVZjfbdeLVtvPo0JpZ80eKD8tmYWGrofDSfjVefavzy+flU78a7tsbamurTHHZM4/18qleN2n75/Hyqd+NdW2PtHNSnOeyYxvv5VK8atf3y+flU78arHa3m/N3dMXxRG3zYoRb+fNMNaNuuDdauXRv+wFt//d/eB6ty3wzauJevyzlw4ID3gXedOnXweLU/4/tu9yNze11cLG4MlMjx/qVHsY/P1XnxRhcYE2MNN59bT+xoNfziXb2rccfDNa9gzm5O17Y1/MY8n6l/1edsrpnOxZ2Ha6suqHX1EXZj/+sWoXHm5I65tszD9bl20FzV7+ors72acl3MtdFc3phzDnZM+7HUUK1feznx0WLctSU1o+ljGXc1leVz9ZXZbr6w3lwXV+PaEuMeVmP74fxOTGUadzxavUtqxPiasTVs/5J8oblXpnHH3TzueGW2F++8ZmyM7YvWHOeL3kN+TgNMHlMDLzz3ZzR4uy6mTZsG+TDabt5X9Z4Zy32VmqtH4LrZuJdT1sWkb6js9/XKxr1sQsgTF7Nnz0aDho3wl3sfxX0NWqPRpE1osXgfWiYe9I5WiQehh/i0L621Ve/XaozVa3w0vWpsvM3hF2vH3Xi1/eKi1dCxWOJVozF+tfx8qnfj1Y4Wo2OaQ2ztxxKvGo3RfH6t1WjfjVe7sng7Tz+tHdecQTWD4m0O29d80eJ0TGsG2erXVvVaI8hWvV+rMTKmfc0XTa8ajVGta6tfWx1349VWnW01Rn3W1n4s8arRGM1XWat6N15tv3iN0TFraz+WeNVojObza61G+2682pXFy7jm8NPacc2petcOirc5bF/jo8XpmNYMstWvreq1RpDt6ZcdxAfTt+LZdn1wy2PPoHqNGt4fqrVPEMp9Tw69D8byNkC17j1TvipHnriXTQj54+6y4dGx41f42y1/xkv1H0PfqS2xcFdvLM/uz4MMuAa4BrgGuAbiag0kZvfHvLTv0W/qJ6j2/N147ImH0adPH++DaPmauav1gbd8ACCbGvLHaeWrcuS3u+UhMflbNMOGDUONGo+i7ms3Y/yIp1F0rClQ0tIcrYASPcRv+362jbXjEudnu3qr0TFbU/uaTzW2dTVqW43btxrtSys613ZjrUbHNEbtylrVuzWjxWmMaLTvxqvtl0djdMy11a+tjmvOIFv1fq3GyJj2NV80vWo0RrWurX5tddyNV1t10VrNIRrtR4t3NWprDddWv7Y6Lm1Va7o5qhrv1tR8fq3O06+Gjmm+yuJtDj+tn8+tobafVn1Wo31pZdy1Nca2qlGfa6tfWx2XVnxBtur9Wo3xi4+md2uq1uZTn2113I1X22qD+ppDxrUfLd7VqK35K+yyky2QvfM9fNb6fjz79F1o3rwZtmzZ4t3bLveeGcvPotRcPQLX9ca9vKGSN2h2E0LfUPXt1w+P13gG/3nnQ6jTfSxaJWxHh1WH8PnqI97xRai1tvqk1b6Ou62rcW1XL7bN6epdOyg+Wg43xs1Zme3GVzZnP73rq2rNyvTuuFtP5yw6t++n9dO4NVzbzeOOu7ar15rWb2Ns32ps39W4ttX69V29awfFWL+NsX2rsX1X49pWq33R2H40W3W2dWu4ttVK3x2vzHbjNYf63Xj1R2vdGNd2Y93xymw3XmwbY/t+Wlcfi+3mcWu4tqvXGtZvY2zfamzf1bi21fr1Xb1rB8VYv42xfdG0X34AjUcswaNvf4x/+bf/xGftOyApKSn8BKF+171u3sf6NsBu3vttQhQUFGDfvn1ImJuAl16uhdvu/is++qouJq/uglX7hmJNznCsyRkWarVvbfHpYf3St7bVWL/2Xb363ZrWr2N+ua3Oze2nd3OpRv1uvmh+d8yNtbZbR+2qztnVuzXUjqazY6p3z0Xn5+e3MbHobD3Np3F2zM1r7SCd9WtOreHGR/NrrMa4edXv5gjyaz5tY9EF1QzyR5uLjtn6OgdtVWNtP73qdMy2QXML8msuramt67c1dEx9bu4gv+Z29eq3cVrDjrl9tbX1i7E5XZ2O2VY0frogv1vTxuqY5rc5rM76Vauxri6aX2M1xs2rfjdHkF/zaVuuW5U9FLOTe6Ft9wa45a4/4q369bwHt+QhLvsE4ZXcM+W+6z4kJk8oyofq8pV2LVp8hGqP3Ykmje9GyrqGOHeyPS6WfA6U6vEFILbn+wIoDdneeMhWbUSciSlxYsS2MRpna8i4a2vNoHjN6c1Razpzlpxaz6+G1rQ1NJ/mtzlUr1ysrfpwnRBTT6N8tZX5Xsacw3MJxYdrurbW0fM3XPzmHM5r52yum1fH1jD59Hztedoa4dw2PjQvG6M1NJ8wVs7hMTOncF5nzhF+p2Y4t3KJgZNdGxG5NVZqaL4Y5uydizvnUA49z6CaUke5hM8lVDOc1znn8Nx0vqEcl7P+bE07R+86BVwbO+fwXNw5Kz/Lxc73CuZsa0abc5ifzsVcS3sOqgvntXM2DDydvRYmn3L08rrxznqyc3Zrag3Np2sjnNfh7MZ7OlvPcPZy27kpl5DPr2Y4n+Hg1tQ5h/0OFz2H0s+9e9OZE+0xZ9rrqFv7Fjz++AMYPHgwDh065O2lys+I+rOm/uwY68+a1P00BK7LjXtZTPJGTBaYvKGyT0LIJoQ8QbhmzRq07/A5/vDXm/Fg3cZoOmIROq3cj64bjgUe3TYcgxyi0b7afnGq0bHKbNVpq3qtobaO+7Wuxtral9YvVnyq0XHXVn9Qq3qtoXaQXvyuxtralzYoh2p03LXVb1ur0b60olHb6t2+q3HtIH1Qjcri3XmpXvO59fxsjdEx11a/tjquNdR2x9X2a22M9jVfZXoZ1xjVurb6tdVxraG2jvu1rsba2pfWL1Z8qtFx11Z/UKt6raF2kF78rsba2pc2KIdqdNy11W9bq9G+tKJR2+rdvqtx7SB9UI3K4t15qV7zufX8bI3RMddWv7Y6rjXUdsfV9mttjPY1X8dlGWjUfxpueuQpPPhoNQweMsTbVHf/UG1VNiL0zZfEBG1C5ObmYufOnd5X5tz/4H145uVH0HVICyzfMxwbD47nQQZcA1wDXANcA3G3BtZkj8as9T+gTsOn8egTD6B169bYsWOH93OhPkFoNyJi+dHavWfqB976kJh8MJCXl+dt3s+cORNvvFEHNZ68Gd93fxYFB7/AuVPfAqVdA45uQKkcOu7a6ret1Whfc6ht9W7f1bh2kD6oRmXxks9qtB+Uz63vxvvZbkxlNXTcjbO21WhfWquxfdWorzJbddqqXmuoreN+rauxtval9YsVn2p03LXVH9SqXmuoHaQXv6uxtvalDcqhGh13bfXb1mq0L61o1LZ6t+9qXDtIH1Sjsnh3XqrXfG49P1tjdMy11a+tjmsNtd1xtf1aG6N9zVeZXsY1RrWurX5tdVxrqK3jfq2rsbb2pfWLFZ9qdNy11R/Uql5rqB2kF7+rsbb2pQ3KoRodj7SPZHdAv14v4tmnb8fLL9XCqlWrvN8k8/vAW+6H/Bc/BK6rjXvB5veGSp+616/LkTdU2dnZ3h8rerV2bfz+ptvxWrse6JiQgr7Juei3OZ8HGXANcA1wDXANxNUakPtT50XbUe+L3rjxljtRu+7rkI0B+RV93YSQDXjduI/1DZXodONeNyHkA2/9uhz5wFv+uHtqaqr3BOH9D9+NN957HpOW9cLmw9OQcmR6+XFU2hkVdkTfHZuOlKMzkOLFhOIlj/g0n9da2/a1putzbDefX82IeTrxEWM6Z0fj1oiIqeo5+jDw5uzUdGsEMpN8ATkDY2TOfvWsz/b98vv4LpmzzeHDKUIfQz5vzk7OiBx2LJTPrj8/TpfE2xzKyfFZrr4c7Xp3XxeSq5J8ds5SK2oNN5/qK6nhnoNb85I5VpLPnaNru/nccc+upMYlc7b6qnJWTvZaVZLPnbN3TjbG9v3y+/hcLq4d9brEkM+Xq52n7Yfy2ZrS9z1v5SbxNsdP/Jo5PB2bDk5D37Ed8PSLj+Cxao+id+/e3tfAuR9468+PsfwIrvdMvW+6D4nJU/fygffu3bvRq1cvPPfs43j26b9g+eLmKDzWAxdP9wXO9ONBBlwDXANcA1wDcbUGzpf8gE1r26Dtp0/jppv+gE8+aYWtW7cGPnUf68+asdxbqbkyAtfdxr2crr75kqco7CaE/CE/+f5B2YSQX2OUTYj+/fvjnvsfwKMvv4mP+k3EwA0HMHxbAUaEDumrra0dk77VqK2tjbkcXVC89WstabWv49raMVejtrY2Rvpqa3u5OhuvObS1Y7av49raMe1Lq31XF4tfY6TVvsZpa8dcjdra2hjpu3ZlOlevtrYSrzm0tWO2r+Pa2jHtS6t9Vxfkj1Vn4zVGWzumfWm1f7m6oHjr19zSal/HtbVjrkZtbW2M9NXW9nJ1Nl5zaGvHbF/HtbVj2pdW+64uFr/GSKt9jdPWjrkatbW1MdJ37cp0rl5tbSVec2hrx2xfx7W1Y9qXVvuuLsgfq87Ga4y2MjY4+TC6JSThyTfew/2PPo62bdt6b6jcJyF08z6WtwB6z5QY/U01+4G3bELIb6rJV+ZMmTIFteu8hurPPowO3T7E2vQp2HpkLtKOzfc55iHtmBw6Zvvqc1tXY23pW9uNFdsdd+3KYtwaVY33m4NfTetza7i21WrfaqTv2qoLaq1eNK7txlVWo7J4t4abz63n6mOx3RxujVjm6JdDfW4+9dvWrVGZbWOl79Zw4129xli/jXHzWZ32rd4vn+psa2PcGnbMxti+q3Ftq/Xru3rXrixG9DbG9v1ixedqXNuNk3GrsX2/fG68q3HzVaZ34/1sN4dbw52zq/ezbYybrzK9jNt4P9vN4dZw4+dj+bbxaNfpAzzx1MN45ZVXsHr1au9nQf3A+2o8da/3TP3AW76aVT7wXrJkCVq3boWHHroV7Vo/g+0p3+DMycHAmeHA2RHlh/S9Y4S/X3QRemPbWKs7Ixofna2p+ojczlwkh6vTvFc656C5uDW9epWcSyxzCeexuUJ9ZaCtd85WF+ISNGfrt3Nxz8XmtTo33tPZNeIzF5s7nNdHZ3Nr3ojzdK651asuPFfJb2uE+lYXjre6SvjZc4moFWLg+SyPGOccbS62psfFPbdK5hzO7czF5g1zMZwsP6+uqaP68HyinL+NdWt6NSrhH+bswzWcW5nYXOZcVCet17c6c15WV9m1dM/F5o1lztHmYnOH816FOYdrmnMOz1Xy2xqhvox7c7D8rc7ksjrlZ88lopbJqzU0PqyzNU2dkP740f6YM/1jvFzrXjz80AMYOXKk9zOg+7Om/vwYy8+a1Fx7Atf1xr19EkLfUNmn7mUTQt68NW3aFA9Uq46XP/gU3WauxoTt+Zi86wQPMuAa4BrgGuAaiKs1MGnncYzbcgTtBk3CYzVfxXMvvIiBAwfi6NGj3q//y8a73YSI5UkIfeOl90z7gbc8zS9/pFY2IeQDb3nqomvXrnj+hWdR85XqGDO7F5Kz52JX7jLszkvkQQZcAxFr4Kd4XVztGlc7n9//C1e7xtXOxzn/nP4/33F0CaYu/hHvt3gT9z1wDzp06OD90T35mdDeM6v6gbfeM+WeKx8CyM+a+pCYfuAtT92PGzcWr7/+Gh5+8K8YPfxD7M/oj/OlE4Gzk6/OcSYgT5A/1roSH5QjyB9r7iBdUN5ocwnK5fqj5Xa1V8OONuegucRaNyg+yB9r3mi6oNxB/mi57FhQvPiDxmz85fSD8gb5Y60Rbc5XmjtoDkF5o80lKJfrj5bb1V4NO9qcg+YSa92g+CB/rHmj6YJyB/mj5bJjQfHiDxqz8ZX05f6Utac/BvZrjHvu/isaN26EuXPnhj/wlvum3P+qcs+89tvWrHBdbtzLZZONCH1DJYvL/TVGeepeNjoyMjIwYcIEPF+zJh6q8TyadPoBE1NyMGfvCczNOMmDDLgGuAa4BrgG4moNJKQXYnxSJhq264SHqz+NN+rV8/5ui2wUyNMQunFflTdUes/U+6bdhLAfeMsThAsXLkSzZk1x7/13oUmr+li6aRJ2HV2JzOPrQsd601ef21qN9F3b1bu21cuYa/vprcb2Y4l3NRLv5vCraX2u3rWtVutZje27WrVdjbWlb22Nsa07XpltY6Xv1nDjXb3GWL+NcfNZnfat3i+f6mxrY9wadszG2L6rKbczCtZiecpUJG6egm0HlpW/No6siIGLm8/W0r7VSN+1VRfUWr1oXNuNq6xGZfFuDTefW8/Vx2K7OdwaVZ2jW9PN59Zz9bHYbg63RjzM2Z2je15Xe85B9SwL23fn4xcfqdmybwkGje2OZ55/HA8++CDGjRsX8Tdi5N6n98wr+cBbv+teP/A+fPgwNm7ciB49euCmm/6K9xo+jcULvsGp41OBsrnAWZ9D/HZM+0F+zWF16pNW/dpXW1vXb2N1TH02Rn2uxtqitzG27+qi5dMxG+/mthpXp2O2tRrxq62taq0tfbW19dOpz+Z1+67G5tO+tNr3i9cxbTWna/v5RROrTuNt68aq7eZVv8TaMevXMZtf+1Zn+zqusXbM9l2dn+3qrS19tbX1q+mXV3V2TPs2l9XZetavfY3TNiifn9/NbTU2n+2rRlrXr7a2qrW29NXWVnNZW2N1TO1oGjumfWm17+ayttVYv9bV1urc3Fbj6nTMtlYjfrXdvOpXjdraak7X9vNH09gx7UtbNheni2YgbctANHi7Bh5//EF8/fXXSEtLi/gbMfa+yW3z/3oCP4uNe9nEsE8Q2l9jlDdU8gThZ599hocfexxPvlQXg+auwsL0fCzffwrLc04h0RxiW5+1te83rj7VaM7KbNFZjfaldcf8bD+f5rBjms/PZ/V2XPp+tuvTeK2htsa7+spsjdd8Vq8+1WgN17YxfhrVB+WrLN4dd/PZ8aAaGqPzszHqU82SrBNYnFHgrdml2SexKD0fC/bkYuGeXCzYm4clmSewbF9R+VrafwrL9p3Ewr155eOiCR2L9uZjWfbJijW//5SXd2l2IRJDrwetKbb4F6cXhGskhmro/KRdmnUiVL88r8YvzSrE4szjEevbi9tXhCWZx5G4vyhcU2styijw5qexoo/IJ+P7TmJZdqE3t/A5h3RST+YjMTpHjVfb5lSf1WjfL4f6VOMX75ff9Wl8UD5XX5nt5rP6oBoaI1o9XJ+1tS+tza+xfj6NUY21ta/5bLz6VOMXH+SzMdoPymdrxpLPT1NZDR3X2Mpqenp57WWdwICZy1C7YVM88NDD3qbA3r17ve+7t08QxrIBYT/s1o37oA+85Stz5AnCwYMH49nnnsVtd9yEIeN6IjVjGXIKU3DgZCoOSFuYWt4P26Exz5YxY0f0/eJDPonVQ2tZO1xT6kt+nY/Gm5pR40WvMaGaXm4TL7ltDumH6/vEe+dt40P5wzGa7yrO+ZKaoRpa05uz1HNrxsrZ7zxNPq2v9cJ2qJ5nO5xVczIVOSdTkV2wyTvCbAtTkZWf5B37T2xGVv4mpB9dj70RxzrPv/9ECvYdT0Zm3saIayPrdP/xZGQfT0bOyRRPm52/CfsLUzytX770Y+uRkbsB6cc2hGqtC9eUMa9GaL5d+3yOTt+1w7KN0/F1t9bYkpHorZXyuSQhI3cjZO66luU8c05s9vzenArL552VlxR+TeWcSPE4SH2Jl1zh15vEF5aPy5ho5HwkRmvo6zIrxNOrb9asMg2vablmwunEZmQXlNfSetJK/YxjG0Lj5hqFXhNy3WT+otPDrSnM9kluueaVrIXweZg5e+s2vIbtWjTnHZqPf7yNCVrz19drpvw83TnrayzEJXRtw0z0NXfJ69Qy0Rzqk1wO50vi7bgb79qVzFnnqGtF7SrUlHW4KmU2vu7eBn/60x/QsuXHWLlypfcbZfqVOVe6ce9+4C0fpsvfVcvKyvI+8K5Tpw7uv/9WdP32PWTsHocLZ5cBZcvLj3OJgBxinwsdZcaWvqcxY54+pPHipC+6UM6IeIkLjXnjWs/U0HwR9Z184dyaz8R752LtUA2bT2vY845lzprbxnt5zTl7czM1o8YoR2HlM2ednzc3p4bOIczCxjtcJI/OK6If4qpjktPmszXE79ma6zLm7J1jRY3zp5eitGgBSosWovTkApw+tRBlpYtx0bCQ9XmudAnKSpeEGJXHi7+sxGjLluOiaE8vwfkzS3FRzzN0DpJT9DIuubSmV19qFy3E2ZIl3jmKTuZWwUxrJnr+czKm1+ZcolfvTPGiippl4lsG8cl5lZUswcWzet7Sll/Lc6VLy8fK5DWo48u9GmeLF1dcC9GfW+7ll7nJuVtGcr6ilzl7dU8tqsh3bnl4fhfOCJ+lni78ug9db5nj2RKtGZqjd81D1zk0Z49JeC2E5uzl8Ft/5v8A7xyMxs2na9yvZsS1rGT9eXOpwpzD9ULr25tXaN7emJmzXb9enVg5XcGcfWuafJdwDZ2HMvOND52Tt4ZD5+DxD+VVBsrSq6E19ZxNDk/vrgXH1lzevLSm1vOZc6jmhbOJKMyfixlTO+HZZx5E3bq1MXHiRO+pe/ntssv5WfO/fmv75z2D63bj3m5EyMa9bt7rrzHaJwgPHTqEefPmoWHDRrj97vvwxgctMGvTLqzNKUTS4RIeZBDXa2Dj4WJMX5eGEfNWYsOhU1iwNQs/Tl+IbsMmesd3I6dg8qoUrMzI9c5j/cEiLNt9GH3GzQprRNt9+ET0GT8bC7Zmh893Xc5JDEtIRMLmdKxzXg8bDxVjXkoGBs1YjJ6jp2HSis1YkX4sHKuvnWlrt2HyyhQs3XUwYmx20i6MWbQuwicxy9OPYXxiElZk5nnnI741+08gISUdQ+ckYsGWbMzetBvjlyVFxIpvxPxVWLrrEOYk7/bmJrl0HtJOSNyE6Wu3RfjsOPv8/+56WQPyul+68yC6DB6Dp1542XuCcOrUqThw4ID36/r6hko27vWo7O2K6PTpCb1nyhP87hOE8pU569atQ6dOnfCnP/0Rr9Z9AVPnjkR2biqOnNrFgwyuyho4cDwNa7cswMa0xSbfTixPmoPEDbOw+8BGrEiag3HTfsTw8T9g+ISKY/nG2Ug/vAlb9q7A4tVTceTUznCO/flbsWPfOmzasRQ5BduwOnku1myeh4wjyUhYNgGjpwwoz+fl7OvlnThrCKYkDMf46YPMWHk90c9LnFiev2gXtmWsxsJVUzFnyXhkHNmMQ4U7vLHtWWsxN3EipiaM8Grpa+XwyZ3Yl7cFMxaMRtKOpdiXvxXbs9ciccPs8GtKXlsb0hZ7c5s2bxQ2716Ogye2h8/pcNEObNy+GNPnj8KEmUOxJmU+9udtCY9rrZWbErA2dT52H9gQMSZ+OSwniRHd+m2LsL9gK2Se4pO5Ju9KxLR5I7HnUBLWpM7Hui0LIvKtTV2AZetnIi17DVL3rsTm3YnIPLo5QrNo9VSk7lmBw0UV10bnyZb/j171NVC0C5nHUrBw9TTUfetlPPzIQ97Xvu3cufOyv2bO/VnT7wNv+5U5o0ePxuOPP4bnn3sEQwZ9hqLjsomyETiXxIMMftI1kJM9B9Ondgsf8xN6Y1vqBJSVrguvycK8ZUjfNQ3bt07EhbMbwvMrOLYEaVvG40zxGlwsK1+/RceXI2PPDBw5OB9nS9aGtRJXWrQKW1PGe7l2pk0O19T68xJ6YXPSaJw/sx5bNo/D/uw5uFBWUU9eHyePJ2J/1mxkZ8yKmMuRA/OxesVglJVKzY24eHYDjh1agBXLfsTMad2xY9tEyNzc11j67ulereKTK8PnIPUl36YNo7y52Bg51y2bxyLv6CKcOy2Mkrz2UM5cJK0fiZysOTi4by6WLx0YHpf5HD4wz/PlHl7ozX1/1hwU5i+LmM+OrRORvGFUhM/WZp//P/5XrYFzp9fjUM58dPr6QzzzdDU0bNjQ+w0y2Ue9nA+8K/s5lONXRuC637jXjQi7CXH69GnvqUT9Q7XyBOGuXbswYMAAPPd8Tdx2933oNmgUVu7cjx15p8uP/FArtvSj2UEazaXjamu+aDlVY2O0r62NF5+1/eKDfLHk89PEks9Po7l+jnPWc5Lz1vOMhYHVa46A+LTcEvQYPBoNm3+KrUeKMHZeIjr2GoBuA4dj1KxFGDZ1Lpq374gO3ftgyrL1SDlYiHkb01DvvSbo3HcwRs1e5B2jZy/GhIUrsS79kLd2JO+6jMNo0LQlmnf4GuMXrgyfQ9qxEnTsPRCfft0VgybNwvDp89G283f4us+PmLZ8Y8Rr5pOOXfHq243QdeDwcPz2vNPoO3Yqmrb7EtvzSiv0+aexOGUPWnfqjmVbM7D1yCmkHjqJSYvX4JX6jTAtcT3WZxzBgPEz0Pqb7uE1PnTaPLTv3ge9R05Eck4Bhkybi+EzFmBxym5Ts9SbY7cfR0Lqe9ejCpzDr3sbE8u1v8NT9gAAIABJREFU1FraVhbvN+76NJe07pif7efTHHbMzeenEb2NCbJdjeZya7jxOu7Gu7abz45rDtW4NVxb9TaH7eu45lM7msat4af187k11Hbz5Z32Xh9z1qbg045d8Lebb/X+Xos8Qeh+b69u3Esb7Z/q7Oa93xOEubm5yMzMREJCAurWrYs77rodn33ZCmuSFyO/dF/oyEZ+qXvImPqCdK5fY4L8Np/0Ve/6dUzHtXX9GufntzGx6ERvY9y+2tpqTtf284vGT+f6VRPkd3NH09kxzSvx1q/5tHV16retG18ek5O7AwOG9sSIcQO8dZNbnIUffuyOHn2+wfzEadieuRHde3XEgKHfY9KMEZizcCLmLJyEOYsmIXnHSuTk7cSs+RPQ9vOPkVecGV57GYe2IHFtAsZOGYKsI1vRq38X9BnYDTl5O7A6aRHmLZ2K4WP749seX6JTtw5e3sUrZmLp6tlYuHwGJs8ciS7ffYWvOrf1dKJf6619Oad9mDxrFJq3bIxWbZvi0PE9yCvO8movXjULHzR7B08+Uw0btixDbmhOGYe2YuSEgXjh5We8OaUfTMWSVbPRuVsH7N6XjOTtKzF4ZB98/vWnmL1wIqYljPXOqfeArjh8Yg9yT2Xhm67t0bNvZ0yZNQqTZozEN93a4/t+nb064ddcSTYaN2mAtxu+jjGTB5v1sw89en/jHXklMteKa7Zm82IMGd0XmYe34NipDO98Js0cieatGiN5+wqPWb/BPTBw2PchvvswftpQdO35lXdN9h5IxYx547x5bd27LnwNpEbr9h9h+ryxXt6Kmv5rofwc7FjFHCvG7JrSvtXZeB0vv2YV9dXW1o134yrT2ZpuLmv75dXcdkz7Nq/VBflVozW1tflsX8e1deNV6+e3Ma7Ozxa9jXH7amvrV9Mv76W6Y6cysXv/Zgwb2x/Va1RDnbp1vK/Mkc11v02Iyu6Zcj+19039WVP/rpr9DW/5mrnU1FS0bv0pqlV7CO+8XQsrl4/ChXNpwPkdPMjgJ10DyxYPR53aT2PRwqFYvmwUFs4fgh96t0Pzpq/jVOEmXDy3HYvmD0aLj+qhaZO6OF2cEp7f1tQZ6P19GxzPX4fzZds8f9GJJCQnTUWXLi2wL2tJWFt8chMWzhuExQuGYN2a8Zg9sx86d/oISxYP9+pK7bWrx2P3zrm4UJaGbl1bYm7CQJw7szWcQ14fGXsXYl7CQMyc/gPKzNiqFaPxwfuv4eTxjV78hHHd8XmHxpg/dxASl45Ez+8+xaiR32JH2uxwvrOlqRBdy4/fwvCh30BsqXGmJBWS74vP3484XxkryF3rzS05aQrknEpPbcaWlOl4t8GLWJE4EicK1mPJoqGo/1ZNlBQle/nWrh6LAf07YPy4Hl7MogWDMXfOQOzeMTc8F8ndv297fPH5BxE+8fMgg//qNXDx/HacKd2CZUtG4v3GdVG9ejV06dIFOTk53kNd+pBYVX5bLdrPoRy7MgLX9ca93xsq3YTQJwhPnDjh/RqjPHW/atUqfPnll7j9jjvx2psNMHHeUmw/VIB9J89WHIVO3892fUHx4rda1Vmf9F1bdRpvx9XnatR286ne5rB9Hdd4taNp3BquVnO4OYNsN5/G27y2r+Nuvmgat4arDcrp1lBb89k86rMa7Utrtep3fdYO5cs8XoqvuvdCzZdfQ3reKYyaNgddevfH6OlzkLQ7G+u2p2PEpOl498Pm+H7QcOw4WICF6zbjhVfrYOiEaZ5GdEl79mFzxgHsyS3y1nvagTxMWZCIdh0745kXX0LnXv2Qdfw0sgvPYOfh4/iw5af4pMNXWJGyHet2ZGDczLno0LmbV1/OJevEaazbkenFP/viy2jSqg0y8ku8+OzCs+gxYAjqvv1u2NbXWWJyGt5r/jFWpu5CatYRjJ21AJ9++Q2+7dUXmzMPYveRQvQaNAKNmn2M9Pxi73X6Rdfv0L3vj1i4Nhl7805h4OgJGDR2MpZt2lbOtfCsV+f9Fq3wRZfvIPW1ntdGs0OcL9HbGNv3u5ZBOex1tjls32q0H1RDx4Pq2by2H5Qvmsat4WqDcuoc3XHNZ/OoT2PsmBsfi8Yvn59Pc/nVcOfgaqqaz413bb98IZ+8FtMO5GLyvCV4uc4bePSxaujVu7f3VTZXcxNCnrrXD7zle3v1b8TIdx0OHToU1apVw4svPY+BQ/sg+8gunDxz1DmOOLY7fiV2UO4g/5XUkljJey1z+83vWtXT8/GreaW+oDnHyu8IDubuRaeuX6JX327IPrwTYyYOxRdft8PYicOxfW8ydmak4NO2LTBu0ghsTFmJPdlbsCd7q3cczE1HQfFBjJ88Am81eAMnSg+H12DGge2Yv2QGBgzug32Hd6L9l629vHlFOdh3eDf27tuGBUtnoU//79CzT1cvX0bOdmQe2IH0/WlI2rIKfQd+jy7dv8bCpbM8/f4ju711caL0EL7r/a1X0xtfNguHCzK92nMWTEXtui+jdt1XsChxDg7mpXsxqTvW44Vaz+KWW2/C8NE/IiMnDQkLp6H5xx9iV1YqJk4f7XEYM3E4dmWmYuuuJPTq2wP9fuzlaY+eyMYbb9VG7349kLpjA7bs3IDpcyaiTftWWLJirlcj71QOtqcn48Om7+H5mk97cywoORhey63btYQchacrOMnrePnahejR61tkHdyOfUd2YfyUEejYuQMGD+8PqZt7cj++7vw5Onf7Cgfz0zF7wRR0/LYDBg3vh6Qtq7H/6B6MnTQMw8f8CDlP+39Dvfp1vGtaPo+qrEW7tmzfrtlY15mNsf2gvO48o+lizae6oDkH+TVO28uZS6wxWqMqbVDuIH9VcvtpJW/lufNO5iBtzyZ80qYFnn6mBpo3b+49Qej3q/+Xu3GvP2vaP1QrH3jLb8TNmDED9evXR/Xqj+CrLz/CwZz1KDuTDlzYx4MMfrI1MHPGYDz80D1I37sKBw8kIStjDUYM74kXX6iBzPSVKC3ejaFDuuGlWk+jWdMG2LVjKU6X7Pbmt27tDHzaqjFyj6XgfFmm5ztTmo5tWxbhqaceQWrK/PB5HD28CR+3eAeJSydic/I8TJzQD106t0F21lqvrtQ+cigZJwq24eKFbDRr9jbGjul9yWtie9pizy9zOmteLwlzhuOJJx5CQf5WFB7fhh7dP8PHLRpi754VOJCzAXMTRmHggM5ImDMsPKc9u5Zh1Mjv8cH7b+LNei95cRfPZ6O0ZA8S5oxA/fqvoOTUrrBeXptHjySjWdO3sWL5ZBw5vAkb1s9Ap29a4bseXyAzYzXOnk7H1CkDce89t6GocDvWrpmK/v2+xoABnZGSssDjNGXSAIwZ3Rspm+dF5G7/WVOvJv8P4P+B8bcGsr3X5ZFDmzBkcHe89NJzeO6557w/VCsPPvv9rHllW8+MvhICP7uNe/lkSDch5A2VPJkoT1rIGyr5DsKZM2filVdewS233Y7uffohZXcm8krP8SCDuF0Dx06dQZeevVHr1do4XFiCSTPnYuCwUVi6ZkPFnEvK0PbzL9Hlu17YnnUAK5NS8NyLL6HXwCFYtHqDdyxZm4TUPVk4cPyUF7dx2y60aN0O85auQOMPm+LLTl2wI/sgckvKkHW0AB06dkL7r77BvBVrsG7rTmQfO45pCfOxeNU65JWU4dCJYvQdMgLDxkzAtz2+R7svvsLK5K04VFiCvJJz+GHQULz1TkMvX65ZXxu27ECTj1piVVIKxk6diU/atUeHr77G4ZOlnvbgiWIMGDoSb73bCPOXr0GjD5uh6/d9sDp5izdvyT98/CSMnDgF61K3hxnIvJu1/ASduvf06vN1zf/Xfg5r4FjxWaRl5uCHH4fgzrvvxtsNGmD+/PmX/XU5+oG3PD0hTw/KYTch5AlC/cBbNiHkCcJmzZrhwYceQJPm7yMpZS1KzxWitKywvJV+kB1N4zfm59P8QTV0XGL1cH3W1r60rl59rkZtV6+2tFajfWntmNp+Po3RnNbWfizxqtEYv3x+PtW78WpfgzkfLchBl+7foMMXbTF52jjUrvMqxk8ajaycPR63vVk70KbdJxg4uC/mLZyF1esTsXpDItZsSMTh3H04dboA4yePRq2XX8CqtUuxev0ybzxh/nQMGT4Qg4YOwMGjWfjiq8/w1Tef49SZ4+HrtCVtE8ZNGIWRY4ZWrN8Ql0O5+zB+0hgMGtofW7ZvCsfItcw5konv+3RHj++7YtnKRWj5yUdI37cTJWWFmL9oNj5o8h4mTh6LEWOGIm1XCopK87Fh02pUq/YYHn74IUyeOg77DqZjweIEtGjZzIudNG08uvfsgqmzJnrnuDd7B1LTkpCybSOyD+xB3olDaNLsA/Tq0wMr1y7F9j2pKCg66s0xdVsSSspOePMaMLgvxk4YiW+7foMf+vdCStrG8Ppr27412rb/FMVnKxjI+axel4ievbohPWs7xk8ehY9bNUe/gX1wsjTPO++TJbno1KUjWrdthXmLZqHBu29549t3p3rjh/P2Y8KUMRg9bhjSdqdUsDxXiDfrv+Fdz6LT+REML3ndRVtb13D9hV+zWkNa7ds5hdZFxGvZjmuMxqsdTaM5NcZP6+dTvdZQW/PZGPVZjfbdeLVtvPo0xi+fn0/1brxra6ytqT7NYcfceLUdTcnZE97rbuacqXi19iuoUeNJDBo0CPIz4eVuQsgGv/1NNf1ZUx8Ssx94y9+I6dmzJ556qgaeeqoaViTOQlFhFnAxL/pxwRm3tu3bPNZv+6JxbRun/SCN+P3GXL+rcW2tY1ubw9W7to3TfjSN35j4rN/2Jadra52g1tW7tl9OP01Q/sriJZdfPsc3a+YYPFn9UZQU53j6srOHsWD+JNSr9yq2p63Brp1rMXhwL3zzzWeYOmUE+v7wLQ4e2Oat0XVrF+DTT5oi99hunD93tHzdXshDzv6teOmlmli+fBaKT+3DhfPHkJW5GbVefBYpmxORkb4JY8cMRNs2zbB+7VwkJy3yjl071uBEQQYuXshFs2aNPI3MxzuP0Ly3p63G2DE/YuiQ3jh7JjR2MQ8Jc8bjiSceRUF+OvJy92DggB5o/9nHWL9uHvbsXoeC/L1YvWoeEpfNCnMZNbIvJk8ahpEj+uOdBvWQtm0lSktyUFpyAAkJE1C/fp0wF31dHj2yE82aNsK8uROQMGcsunbpgLZtPsbJwmxcPH/M4yCcbrv1JqxeNQetWr6PLl0+x+bkZWE+UyYPw5jRAz0WmlfOsf1nLb2ans+5Tr7X8nLXRlCcW9Pq/MbEZ/2277c+bT6/fizxsWj8cqsvWryMueMS5+cLyqd+27p5o+Wzcdp39dZ2c9sYq1O/tEH+aJpQzLlzR7Fp01K0bdsCN998Ez7//HPv20pkT1Xud3zi/kq2269e7M9m417fVOmvMer39hYXF3t/mCg/Px/y1P2aNWvQtm1b/OGPf0SHL7/C5m1pKC27wIMM4nYNnDpThp69++DV2rVRWHIaMxPmYdio0VizISlizsNGjsLgYcOxKXUr1ien4O577sWzz9dEg4aNvKPxh00wdsIkZOYcRPGZc1icuAK33Hor0nbtwbKVqzBs5GhMnzUHJWUXUFJ2HpLvzfr18VqduujcrTtWrduA9H05yCs85Y0fyT+OZ59/HtNmzsaOPemYMGUqPm3XDjlHjnnjPw4dhncaNkLJ2fNeTn2dbdm+C80+aoGJU6eh1suvoEXLVtiVnhnWHC8u9c7jyRo18G6jxnj8iScwe958nCw9652vMBg3abJXLzVtR5iBzLnlJ5+ie8/vvfpajy3/f7ue14C8Ho8WFGLpilV47PHH8XzNmhgzZoz3hPyVbEL43TPlqXt9glCfus/IyECfPn3w2GOP4vXX62LZ8iUou3DmCo6zKLsgx5XksLGx5IpFY3O6/cuZc7Sa0ca0diwa1WprY2xfxytro8VEG6ssr9/4aRQcz0Xnb7/B8zWfw2u1X8WLtV7Ajl1pOHOu1FsfWfsz0bZdG9SpWxtvvvUGGjZ6xzvea9wQyZs3oOjUcYwdNxp33nkH3m3YIDT+Luq9+Trefrs+hg4bjKO5h/FVxy/xTaevceZcSWjtnUXajq2YOGk8xowdfclaPJZ/BJOmTMSQYYOxfee2ivHzp7Fw8QKMnzAWa9evRurWzbjnnnu89kxZCRYtWYDWbT5BZnY6WrZqgcVLF3r1121Yg8lTJuLll1/C1OlTcPBwjjcmmuycLBw+ehA/9O2NO++S83gHo0YPx+bUJOTmH8HpshKUnT+N/gP7oV691/HmW/XQu08vr+b+g9koKilE2fkz3vk88sjDSN6chF17dmDEqOHo+M1XXqy81j7r8Bnad2iHs+eFbcW1XLdhLbp0/RaLlyzwPlyQ67E3Y1fonM+i5HQROnX+Gi+8WBPvNnoH99xzNzZt3ojSs8WeJrfgKCZPnYRx48d4de3ruv7b9TFpygScDmntWEW/Yi52XhXjunasTn1uK5pYdDauqnqJtTG2b/NeaT9a3mhjQXVtjO0H6V1/LDHRNNHG3Fpii76qMSbP+TPYmpaKJk0/hLwuZBNCPpS+3E0IuV/qPVM/9LYfeNuHxOQrBiZPnow33ngDd991B6ZMHouC/IPAxdLyA6FWbOlbWzW2dccrs22sXw033tX72TZG+tauTK9z8NMF+dwaldXzqxFLjK3v6l3barVvNdJ3bdUFtVYvGtcOilO/qzf2zBmT8cjDDyI7ayeOHslGRnoaBgzogyeffAK5x3IweFA/jBs3HDt2bMbOHSm49967sXHDKly8UIx1a5fj008+Ru6x/Th/rii8dk8WHsXEiWMwdsxwL6a4OA9bt2xE+8/aICNjO7KyduKHPt/hwQfuQ8N36+O9Rg28o2vXb5Cash7nz51Cs2YfePFlZwvDeeW1sT0tGePGjsDQIQNx9kzFWMKcaXjiiWrea+jC+VOYMGEU6tZ9DXXqvIoe3TtjzZplOHggHcWn5IOvEq9Gw4YNvDxZmTsxc8YkDOjfCwcOpKO0pAAJCdNRv349lBTnR9Q/enQfmjX9wJu/5JYaO7Zv9vLJdREO8lr+93/7HRo0eAsPP/wghg4dEDFXGR8zZhhSUtZHXMv27dt4NcP/B+j1s61cO3P9IvpWF9T3i7f5/OLccdf2i7E+v5p23K9va/jF2/HK4mW8Mr2bw6+mq3FtW8ONd7V+to2Xcdd2Y9waru3q/WxbI4b4ixdLcCBnLwYO6IPbbr0Fb731FjZv3uz7kNjV24ZmpqoSuO437uWE9Q2VvqmyTxDqxr1sQsgT95MmTUL16tVx3333Y8SoUThw6DDKLl7kQQZxuwbOnDuH3n36oHadOig5cwYJ8+Zj1Ogx2JCUFDHnkaPHYNiIEUjdstU73qhXDwnz5yO3oCB8nCwuhuQ7lp+POXPnQjQpW7YiIyvL+wqOJs2aoUyewL1wEYWnTnm67JwcrFm3ztvEf/GllzBqzBiUnD6D9MwsvPLaa5gybRqy9+/HpClT8Mc//Qm796bj7LnzGDp8OBo2aoSzFy54+fR1tn3XLjT+4AM8/Mij+HHQYHz++Reo9+abOHvunKcrLj2NHj174r77y1+jzZo3x6DBQ7B95y7vfIWB1JK6aTt3VjC4cAGffPopen7/PcqkJtc0GfwM1sDpsjLszchE127dcdttt6FJkyZYvny5992Dsgkh9zt9ElDugbH+0/um3YTQD7x1E0I+7E5OTvbewD308ENo91k77Nm7Gxcvnv8ZH+d+xucWP9ftwsVzOHHiON55twFeerkWRo0a6W1sJ8ydg9zcY9412L9/H9q3/wxz5sxGevoeFBTkhY58nDlbivPnyzBt2lS8Vf9N5OUdQ35++fju3bswb95cDB8+zPN//XVHdOrcCefOnw1f2507d2Dy5EkYN25s2KfrOj8/F1OnTsGwYUMhOvVLPfnDXT/+OBBSY/36dXjttdewLHEpjp8owJIli9GuXTvk5eV6X5Uxe/YsbEpOwuAhg7y5NWjwNmbMmIYjRw5h6dIlaNWqFXJy9uPc+TIUFRXi8OFD3ti48WPx0ku10OLjFjhwIMerX1R0EjKv7H1ZWLBgPmrVqoVnn33GO8/S0hJs3LgBDz74AFatXgnh9t13PfDII4/gzNnTuHDhHDp0aO8d589Hrm+Ja9q0CW655RbMmDEdH3zwvqeTOcl5nzlTio8/boGaNWuif/9+aNnyY4wYMRwZGeneeMHxfEybPhXjJ4zD3r17wqwkVj48mTJlMs6WnYnwK8/gNnKOwborWc9Xu8bVzud3bj9FDb+68eSrnIG8TuU1Ia/tmjWf937tf+LEid7Gvd/X5VT1nqk/a+pT9/KBt/6mmjwkJn8Mt2PHjqj22GN45eWXsDl5I4qLCwGU8SCDn2wNTJw4Dr/61d/j9ttvxZ133o6aNZ9Dr17fIScnG+fKTntrs1u3Lti/PwubktZ7D2csXDgPRUXHsW7danz6aSvk5h7G+XP/P3vvAV3VkaULr3+9f9Z6Pf5n5r0382am2902zgkwbRpjHEkmG2yyjU00YEDkLHLOOYooQIACQUggkARCCOUAXOWcAyhnXcXvX/vcu0WpODcIhBu7D2vVqtp7fzucunU5V/vU2VXTHHNjox6lpUX4edJEnD17GjpdBMjG/fvhyhpPTU2Ek9M5bNu2GQ8fZqO4OF9pZWVFqKutUuzY2EzHmdP2qKujBObj70RMtA4ODqdw9Kgdao1Ykru7u6JXr54oKspHY2MtqqroXvgQubmZCAsLxtSpkzF69EgcO2aH+vpq5GRnYP78ubC3P46M9BT4+t7C559/plxjdXW5Ym/s2J9QVdXyO0nxUmz0f8a+fbtx8uRxjBo1UpmPpqY6NDTUKPG9/PLLsLc/gZkzZ2DTpg2KXb4OZ+fzOHPGHvfuhbW4NlvbJSCfjNP6x5+7NhcvxlzQd46+K9On/YIOHToob40lJSWpbhKz9p6p4dp+Bn4XiXuaFjkJwT+ouFwOvfpPNe4XLFiI9u07YMbsufALDkNBeRXKaxu0ps3BC7sGSmrqsHXnbgwbMRKFFdW46HYNR06ewp2gkBYxL1+9Gtt27UZSehaCIx5gzE/j4HXbrwWG17qnj6/yxsnmHbtwwe0q3G94YemKlZg0ZSqSMrMRHhmN6zd9EBEVg5LqWmQXFMEnIBi0a3/XvgOIT8vAkRP2WLxsBY6fdlD0Dxw5hoFDhuDyNQ9kPMwH0eMm/owyfX2LGCKiYjF95iycOHMOUQnJuHztOhYsscX+Q4cVP/Sd3HvoMMaMHYf4tEwERjzA7HkLsGXHTqTnPUJxVQ3cb3jjxGkH+AlzQPM0Y/ZsbNi8tYU/vmat1/6f+y2ugaxHhcpbNv369we9hUI15+khNL2ir5aEaG3ynhP3dM+kHYTiq/8JCQnYs2cPPvnkE/wwZjScL55HSXkBahuqtKbNwTOvgYLiPGUX+KrVy5GakYRbvl5KEt7JxbDOUtITsWTpInjevI7cR1mq/pwvnMeEieNQU1fRLM/OTcdNH08cOXYYeY+ysGr1CqxZtwrVAiYy5j7OOZ7BqTMnm/V4XT8syMZ5p7M4cuwQCEf86tpyEH/09yOVHegeN9xx8bIz1m1YjTlzZsHv7m3c8LqGxUsW4lFhLg4c2gf3a66Kj7XrVqFKX6bE6XzBEVk5afD09sCcubNB13juvAMcnc4pfug6aC4uXXHBgUN74XDuNBKSY3HF/TISkmIUOzkPM3Hb76byZoHLRUfExOlw6vQJzJptA2eX80oc23duVd5CuOXjhaLSfCy1XYylyxZDX1/Z4noDg/2wdv1qnHd2UOJydHbAilXLcML+mIKrqC5R6EWLFyApNQ73daGGtwJOn0BefhaKSh8pc03XG/EgtIVtKn3kcO6UMnc8t1qv/d/5vNdARVUJYuMj8cu0qUq5GnqYRue10EYuumc+7Ztqan9rki0+H6asrEwpzUq77UeMGI4+fXphz+7NKCnKREN9CdBEO5e1ps3Br7MGLl5wwEcffQh3t/Pw9rwM/7s3kJL8ADXV+UhOioTNjCnYsnkNbt10h9sVJ9jazsPmTWsRHn4XgYE3sWD+LOQ/Sn1i7TY2lGLxorlwcDiGCxccMHToEBQWpqOxvhSpKVG44EIHtu5ErZ52tD95rTY2U3Dm9BHU1Ra1kKenRcPZ6RQ2b14DfQ3tnjfourqex5dffobSkiyEhd7B3bteSE6OBMVRXpaDexF3QDbnzrVBUWEGtm/biE2bVuOsw1Hc9HaD43l79O79lXKdhQXpcHd3xtix36OqkkoAPY7v4cMU2MyYiqNH9iIuNgxhob6wXTofR47sR25OkjIPTo726NixPZKTHiAmOgRbtqzFhg2rUFKSjabGMsXfKXs73PbxaLZNcS5ZPA8//TS6mSf61caPPwNtLv5+c5GdlYBdO7egX7++yoaUO3fugGrc0/1N3CTG+da2T0lrFq2Zgd9N4p5/UIlJCN49SDsh0tLScPDgQQwYOAhfdO+FUy5XEJP5EHkVdYZWWYc8bsTjMfUyLcpYLmLEsYw1RYs6NBZpNR1ZLtNqOiJP9mGNvoyRadG+2ljGy7QlHcKLOuJYTZd4MkamTekxX8bLNOPEXsTQWKRFnKmxhM8p02P9tl0YMmwkMosrcfaSO/YdPanUrSfbGUWVuHTdGxN/mY4dB+yQlFcEn5B7GDlmLK54+7Zcy5V1yC6rwcETpzF+8i+4FXIPt8N08A3T4fj5C1i2bqNSm/526AMsXrkGG7bvQkRcCnLKahASnYDJM2Zi48498AmOwPdjx8Phkju8A8MVG1dvB2DvMXvMW7IMt4IjsPPQUYwZPwm5FbUt5sD/fjR+mTUXQZFxyvVEpmbj+DkXDBv9A7z8QxCX9UipnT915hwl9pxyPY6edcaCZSux+9ARZJVWIygyHgtsV2Db3gNIyMlX7Fz08MJRUQv0AAAgAElEQVTPM2Zi1+GjT1yz8n2W5vWpPhfRhji28rN8Kp+i7db6JLyoI45Fu+JYxsi0iFUby3iZtqRDeGt0RDsyXqZFLI1lH5bwsj7bYL5sj/liL/uwRFfWIaukCrdD7mHZmnXo+GEnpcwblXujN8jaMnHP900xCZGbm4sbN25g2PBh+PTzbtiyYwOi4sNRWVukNW0O2mANFCK3MA0bNq/B7n3bUVFbiOKKPGWdLV+1FG7XLiI+JRILl8zDNS9XZOYlqfqk+upjJ/yIcn1BszwtOwE3brnj0JF9yMxLxvJVS7BqzTKU1+Q3Y+5FBeP0uRM4cdqumcdrO+thChwcT+Lgkb0gHPFz8lPhfPGscmDtxSuOCHsQgND7d+EXdBN9+30N+zNHcdndGQsWz0VOfhpC7/sr17Vg0VwcsNuDCn0hxk34CeddTiM1K16pFz9r7gwkpEbh8LH9mLdgtlKfvqTyoTIPzpfOYfvuLSBfiWnRmG4zFXbHDyApPQZFFXmIjIvAqO9HKDX+3a9fwtz5M+Hh7YqgcF8lNh+/Gzhmf0ipuU/zuGjpfKWJ80TXdSfwJrbv2oz0nESUVj9CUno0Dh/bp+jdjwpBXmE61m5YhQ1b1irzQPpHThzAkmUL4XD+JArLchCbdB+Tf5mEM+dOILcgTWluHpfw/ZiRcLl8rsVnw3Nsvi984jMxj3+a/5N+DR9PE5em8yyfdVlNPlKz4nDc3g5f9+mN8ePHw9nZWTnnjDZyURKirRP39DCAbNN5anFxccqbNL17d4fNjAmICPdEY30O0JinNW0OftU14HrZHl/3+gJVFakt/BYXxuPggS2wP7kbvj4XEBPti6hIHwQFuGHihO/h4nwUgQHuWDB/GvIfRaOhLruFPq3lq26ncOL4LmzfvgqrVs6FvpoOHc1DakoILrgcw4H9m1BbQ7X1n1z3NjYTceb0PtTpW8rLS5Pg5GiHwYP7ITb6Lmqq0pGSHIo9u9dj+LCBqChPRlysH3buWIMtm1ciO/M+GutzERfrj/nzpynxpqWGYcCAr+HifARRulvKtYWGeGDH9hXYuWMt/O+6w93tNMaOHfHEvDzMi4LNjInwvX0JZSWJKCqIxY3rZzFy5BB43nBCYUGcMjddu36E8jI6bDoP3p6OWLlyHnZsXwt9dQbSUkOwbesqrFu7RMHTd598zp//C9auWaA6H2pzpPGeXDfanDyfOWlqyIW+JkNZ45N//gn9+/dTNmxR3pQeRnPiXq5z35pNYtYkpDWMdTPwD5G4p0ODvL29MWXKFHT99HNMX2CLgLg0JBRWIblEj+RivaHnsTmaMdRzI3xrdEQs2xN5sj3GsD+ZZrxswxSe9WW8SDOGbbAPU7SMt0SzPdGnOGZ9kcc61sbQWjz7ZPumaDkmGS/LRdqUTbahEnNiYTW2HDiKHydPR1x+BRzcvbBx72EcdnDG9cB7cLsTjOWbdmDJ+q1wunEbMXml8AzR4fsJU7Dv5FkFQzhugXFp2HPyLOatWPt4/RfrEZaSi2POV/D9hMkIiE2D7cbtmLl4OY47X8G1u2E45uSK+SvX4fC5i7jiG4xBw0bBPyYFSUU1yvqPL6hCYHw6Rv40Eec9bmHn0VMYPf5neARGNPsOiE2FV2gk5i1fizuRicr10PfoZngMJs9egG2HjsMnIgYHTjti7vI1zd+x2Idl2HHEHuOnzUJIYiaickqwaM0m5RpcPH3hdicEthu3YeXW3bh4y//xdfG8yvPO8yx+NuJYxjMtYtiGJR8st4RnH4yXadaXY5DxstwcbcoH22SfTMt4a2k5BtmeLBdpSz7kGGXalL7ow5KOiGV7Is+SPutQz2ML+kn0nUzOwZ5jpzHo26Ho0bMnLly4oOy2px9TzzNxT6Vy7t27h42bNuK9997F2Ik/4LrPJTwqS0VJTY6xZaOkhppI85h7WW6OZh2xN+dDlol6PJYxMs04sScM0zJephkn9jLGnD3SU8Nb0hH9sQ3mWbLHeHM+RBnbFXtLPmS5qMvjbGQVJGDX/i2wO7G3eR5Sc2OweoMtNm5bjfCou1i7aTlOOhyGl68bAiN8mltUQghyipJwwf0sZs+fjuKqzOb1mJITjZt+V3HSwQ5pebHYvGMttu5ajyIFY/B/LzYATpdP4azLiSfWc8bDOLhcOaP4vR8TqMhjksOxYMls+PhfQ1Z+QnO8xdVZmDR1LOxO7sX5iyexZuMyZOYn4GFJClasXoxpNj/DN/A6CEdxXnQ/h+TsKHjedsOKNYuRkH4ffiFeyvXOnj8N/qHe8A/xVmLedWAL4tPvo6AiA4ts52DNpmWKvm+QJ5wun8bchTa4dvMSnC6dwtQZE5XvJ/mhNVVUlYXg+774ul8PhEX6YeW6pZi9YDoCwm81z2Fihg63Azxw8OgupOZGo7AyQ9Gla1y2aiH2H96J+LR72LF3E3Yf2Nr8vcgvT8f6zSuxfPUiJKQ/QH5ZmmJ7+56N8PZ1ww0fV6zZsAybtq1GYPjN5s/l8feK1wD38noR158sIx2ZZ4lmP2Jvzodsz1qfon15LNu0RMv6HAPzZX3mi72MUaNFvDxWwxOPcbKc+DLPEp5tca+mL9tgLPcsz0Z2YSJu3b2K0T+ORM9ePbF161Zltz39Hfg8E/e0m59q2587dw69e/XC0O/64vSpraiqiAIakoFGM60hCdDaP8YcmFsHbSzz8rTHj2MGo7oyusX6y8sJwoxpYxAR5gp9dawia2pIQkNtPObMHoezDjsRFOCCVStnIuCuC3T3ryFKdx2x0V7ITPdHY30iCvPDcOL4ZmzetACRD66ioS5RsZOZfheXLx7Els2LcD/CXdEj3ZgoT6Sl+Cm6q1ba4NDBtbgfcbVZnp0ZoHxXfG+fxY9jvsHli4cQFuIK18uHsWunLQ4fXIPamljU18bj6JH1mDtnPDyv2yPygQcuuhzAju1Lcc5hJ+JjvTByRH9EPrjWfM11NXFITryF+XMn4fy53fC8fhI/TxqB8NArzf7TU/2Qmx2IlStsEBx4ERVlOkX/UV6IMicUb3TkdVxzP4bvvu2NyvJIRV5WfB/OTnsxfHhfkI3qyhicOLYJixZOxt07TsrcHTywBvv2roCf77nmmMz+f9DG60DzZeb/3n/0uW5IRr0+HlkZ/lizag4GDeyDqVOnIigoCAUFBUoJOC1xb11C/ddC/e4T9/RDLSsrC5s3b8ZXPXqgR/9BOOF2E6FZpdDl10D3qMbQ81ik1XgkFzGmaBlDtqyxZw1Gtm0qhmf1aUlfLQ5zOrKstfoinmypXbfsQ6ZFG2r6spz1uRflxBNpU/YsYdi2bM/Iv/+wCqeu3cbmI2dwL68SbkGRWLZtHybNWYyf5y2Fje1a2F/1wd2kPOgeVSMipxzekSmYs3KjgiGc2I5e9oSLbyicb4e0mMP7j6rgHhqN2Ss3wC8hBw8eVuFKoA7r9h7FlAXLsPOkE25GpSn2r0fEY+tRBwSmFjTPwYP8aoRmlWDNHju4Bupw3NWrhV+KYfuJ87gSFIn9510VH3Q9NIf3citwOzYT89ZshtOtYDjdClIwynfGOC9XQ2NwwPEKTrrdREhGsaLj5BOMpVv2YPqS1Thy0QN3ErJNf8/keRY/F3nuTX2W5mxYY0/EWPIhYjk+NR7HZMmemg1r7IkYSz5ErBgXjzkGpk3ZE+2oYVhftsd8S/pqcpnHtmQfavGY4rEN0bZsTw1j/E7Q92D89Nn460edld32lEzPz88HJdafZ+KeXo+k1/2/G/od3nz7dRw4tg1RKYHIr0rWmjYHbbYGsopi4ObtiBt3LrawecP3AhxdT8Db3xXOV05i2Zr5mLNoWnObu3iasibDY31xN+IG7M8fxKPKpGYb6fmRINlNf1dkFETjkocDLt84i0cVjzFxGaG4E+qB28FXm/V4fWcWRuNumIfin3D5lcmITgnCms1LEZse0hJfmYxbgW5wv+kIZzd7uLjZI7M4RvHl4n4KjldOIrMoFvmVSUqc/hE3kPYoEmHRPjh/+ThS8h4o9tIe6XAr8ApWrFuE1RuX4JqPi4LjmOj6fILcsfPABmU+HFyOIDn3PnJK4uEbcg2nHA+1jKsqGTHpIdi8azV0SQE4cW5/8/zxXDq728MvzAMePi5IL4jCw4pExUZuWTxCo32wYOlM3E+4iyue5+Du7djCfuA9T9D1efg4K/y8sgRcvemEjTtWKvG7ezm2iJ+vQ+u1/0Of1xp4WJ6Ie3F+2LFvA9q9/irGTxgPNzc30Ntj9LD7eSbuabd9aGiocgbGXzu1x7KlPyMm6hLQoDPTHqCpXmv/SHOAhgdm1oO5tdJ6WWz0ZZw8thp1NeEtfBYX+GH/viXITPNU1p+4Rv18TyA0yAERoefhcHoDVi6fjOW2k5S2cb0Nzp/bjLqaCDTW3Ye3px2uXN7dwkZxwV3c8jrSrMO669ZMw6kTa1FbHY6rV/Zg66ZZLTCXXHYgM+2GYqu0yB8uztuwaYMN7E9QwvxiCx/kOzXpmmJv5YrJcL20C1kZnqgqD0ZygjtuetqhKN9PuGbDd+zEsdXwuXkEYSFnsWrFlBb+z9ivR1a6F9xc9yAt2QP6qjBFv6nuPqorQnDafj3879hDd98Fhw8ua5bT3GWleyox+Nw8ipLCu6jX30NCrBuOHF6h+Ll+7QDysm8J8bT+sxQ/I22szV9brYHGugcoLw6Ep4cd+vf7EgMHDlCqk9BDaCoxTg+ktcT9r5WSt87P7zpxT68v0o8p2m0/YuRIfPl1P8xeswU3YrLhn1WOwJzK5hYgjEX+047V7KnxntY+6T0Pe7JNmX6WeNViJvvP20dbx6x2Hc/DR7PN7Er4phXjVnIBArMrcTejFDcTH8EzLhdecbnwjs9T5AG8pgmTWQbv+IeKnDDUGO+bWgS/9BLcSS9pXv/si2yTPfp+0Ofil1EKn6R8Rd8nuQD+meXGGMqUeAKyKlrayK7AraR8JUbywz7ZP9kgH7dTCg3fwWzjd1CJuRzeCQ+V2Cg+wohr425GmcK7k1qMgOwKBGRXKtdAc6HMQWrRE99rvi7uRXvMe5ae7Mk2ZfpZ7JOubE/NZ1v7eB725Ot4Hj5Em631p4ZX44k+5LElvCV5s73sSnjF5mDBhh3o3qc/hgwZAg8PD2VHH/2YovJv8o8pKnfT2tqDhCc9sVQOJTfCwsKwdOkSfNKtCyb9Mga+4VeQVngPOeXRUotBTjk15otj5lnqW6sj42XaGn9PoyPa/Xvo/z18itdszViMkcYi/aR+dlkUUgvvIa3wvnENGfBEpxREIK3I0MfnBCMuO6hFS3oYhowSHdKLHyA5P7yFflZZlCIjfcVHwT2kFrRcv1mlkYpuetEDaf3GKDpkl/QJR+s7szQSCbkhSv94vdM1xSC96L5yHRRzakGEok8YGhOPYiCa4iS7HF9KfoQyJhnxyE58brDih75vxBN9kTwxLwzxOSFg3ezyaNA1PJ6Dx/NMMSfmhSKzJBLJj8KF+TPMJ8WmXKfRF9kif9TT3NKcZ5bolGtLbf6MDJiM4gfK9fH/C6RD44S8ECV+wreM3/xaEK/TMJbxMv34Op/UJRnhn0ZHtPus+qItU2PRR1vEbMoP82Ufon/GWOpFHdmeJV2Si/rW4kUdcfxYn/5POHvZDt+NGIhOf+2kJCCio6OV0nJt+bCb75t0MDyXl0tOTsaxY8fw4Ycd8dOY/rjmth0VpTeB+kDV1lQXAGtaY50/GusC2rCp2VPjPYtPS/YsyWXfang1nqwn0pbwluSiLcvjpjp/lc/3SZ6p9WEdP0B1bbFuXY0fKktvoqmu5RpsrA1ARclNNOjvSvoB0Ff6orbqDmqr/VBV5oPSIk+UFnoprazYG1Vlt9BkXNM1lb6oLvdpYaOx1l+xwTqlhQb9siJvVJJuXQCqK26jvNjbaJfknoqdBr2/YotskF3yRzp11X4tfND11dfcVWSlRV5G3buKbeLXVN4G2eB54L6y9Fbz9ZUVGa7JEKencl3kn2Kr1xtssR7FTHHoK+8osdD3mngsp3mkeGnuaG5RH4B6Ze5vgeKrqbgNvjbWebJ/bO9JGX1+luQtP2N1fFvYEP201p6oqzZWs6fGU9O1lvc87Mk2Zdra2EzhZHtEyzxTuub5tVV+SIxzgc30Efjyi0+wYMECBAQEKLvtLb2lppXKsS7R3tao313inn5I8Y8pSm7Qj6mVK1fi0y+7Y+iE6dh72Qc3kkrglVYO77SK5uaVVgFqzBPHxHsauWhDTV+Usw/2L9OyPstFG+LYlFzEyDYt0WyTem6iPVku22O5qCNjZJp1RH/Poi/bk2n23xofrMMxmrLJchnPtOyT8WyvtXIZb45mH+yTsNbgZQzrs73WymW8OZp9yD6ZJl1Rn/EiTxybkosYGreGZpsckyVats/4Z/Ep27REs8/WxtyaGOUYZJ+y3BQt+5Rjbq1cxpujWxsz42WbajF7ppRit7Mn+g79Ht179sKaNWtAB8XSTnj6MSXugqD7HSffnzZxTzaofiE97CYflID4bui36NXvC5x02Q1dug9Si0ORXhpubGFIL6VmLU04UUccyzI1Wo1njX9rMGRbzT7zTMlNXYMln6bssT9L+mpymWfKB+FEbGt9Pqu+6E+MQx6bo0Ub1lwnx8x9a/XN+TAnE/21hc/W2jPlk2NmOdNsn3qZZy0t25Rp9iHba61P1mf7rdU3FQfbNWevtT5lX63VF/Hm4jInE23Q2BLNMXNvCa8mV+OJ9lhOPY/V5MSTMer0zWAXzLOdho86d8LPk3/G7du3kZ2drewcbMvEPT/opnsmnaVGG8S8vLwwefIkdOz4Jg7sm4nkhFNo0HsCdV5AnTealOaFpjpjq/VCY62n6ab3RKPeU7FBdrT225oD+uyUpvoZe6Gp1tPQjOvBsE4Ma4XWi6FZQ4sYGj9PmuJS88HxstwS3ZoYZZuyf2vlss+2jPFpY+IYWF+O0RLN+jwHlvDm5GyDbRJWxMtypkWMrKNGs/2n1bfGpuxDplsb87PgTV2nHJMlujUxsE+2Kc/ZY/nDLBecPb0MXf72PkaMGIZTp04pZ4LSOWr8lpqpA921xH1bp+Sts/e7SdyLOyA4AZGTk4OrV6+iX/8B+GrgUMzachinQ1JxObFUaa6JpeAm84hmGfWWaBljjT1LNkW5bI/9yRhLMYt4tsE6sg8ZK+Mt0bI9xot2xTHLqRebOYzsQ8aq2ZQxIs321HgckyhTs6/GE3XYh2hPjcdyS/YYZ8kH49TsqfHM2WO8jDHnQ8QyTuTRWKYZp+aPeTKGadke4y35YH01PPMYI/sQbYsYHsv6Mi3bY7loVxyznHqxmcPIPmSsmk0ZI9JsT43HMYkyNftqPFGHfYj21Hgst2SPcZZ8ME7NnhrPnD3GyxjZx8W4IpwKSsZP81bgk696YsKEicpu+4cPHyo7B+nHFCfu2+qQPU5A0MPukJAQ2NjMUGpjz1w0Hv7RlxD38DaSiu5qTZsDbQ1oa0BbA9oaeOHWwIMML+y0W41vvuuLnj17wsHBQXnYTXV66WE33duovBwl2ul+R8l3ftDdmgSE/Lcm2aQDaXfu3IFePT/F+HE9EOi3CRXF59FUe/lx019Go9IuobHG0MoKzyMr9RhiHuxDSMB23PRcB3fXFbjssgwXnW1x0WmpmUZyxvDYFE12TGHYB8uZlnuWm/LBclFP5ok0j6kXdcSxjGGaMTLNfO5ZTj3xTNGMFzHMYx1RxvYYI/aMt8VF56W4cmk5PD3WIODOFugi9iAlzg5FD8+gttIFjfpLxiasE2XNuAK11C4be1O0jCG8qCOOGavGY/uMYVq2x3LRhjhmOeur0TJP9iHbk/GWaNke40W74pjl1HMzZcOUXLZnyibry3L2J9phHuuIMlnfGowle2o2W+vTkg/ZniWfavbUeHz9luwxTozDGnsi3pIP2R7jRRvimOUcmxot82Qfsj0Zr05Xlzkr/y9NnTwQH/21I9avX4/g4GClHCu92U0Pu+kNbFOJe+vSzBqqrWfgd5G45x9fvAuCkhn0Iy0iIgK2trZ4/8POGG6zFBsv3cXpyAKcjSnG2VihiTSNuTFGlBPPEm0Jo6avxmP/1tgjfdGGODalbw2GY1DDqvEY/zQ+rbFnDYZjkLGmYmK8KblsR6TF8dPoyzpkjxvHZY0PxrI9czpqMjWebNMUTbrcGNNaexw368u0mj01nil9NXtPE3NrfKph1XiWYjanY07G12wNhmOQsWyD5dbSsh2RFsem7FmD4ZgIy03miTSPqVezr8ZjHVP2RR1xbMqHbE/UMfo4GpIO2+OX0bl7H/QfNBj79u1T3hyjBERb/piSExBUeod22+/fvx99+/fB0B/64fiFzdDlXkdMvhfiCrybW2y+N+KoGXlEKzzGEM3jAsNYlCsyQZ9sifInaLIh+CR9olv4kGnyL/gQ9SluRV+QKz4txNzCp6mYBZuiz6eNWbHBcan5ZJmJeTYbszSvPC/ivD0xL1bMs9mYJZ88L81riT8bvi75miV9jvkJn6zP9sTPhWQiLfuQacknx2xy/VnQtypm9mm8DsWXELPyuZijWd+IsRgz4VXmxeI8ifPMPoWYza4/nifhOpTP8RljfmItCPafWM+tjZnxgk0xZmUd03WJ8yLTKvNsNmbJJ3+W2neG/x/3wiWfwxg7dTi69/xCed0/JiZGqW0v7hykexz9fSgn7q39w5rvmfS3JtkgW3RPdnV1xcQJP6FH9/Y4d3o68jIOoKH6DJr0Z9Gkd0BTjQMalXYGdZWnUVF0HJnJ++DtsQxHD03B2lUjMWfmAPw05ksM+aYL+vXphD69PzTROqJP71+zdUCf3r+19mvOD/tS/7wGDvgIo0Z+hum/9MUK22HYuXUsLpyfi/CgjcjLOAh9xSllrdD6UNYKrRe9A6A/C9RqTZsDbQ1oa+A5rAH9WaTG78a+XRPQresHGDPmB1y7dg0ZGRkoLCxsfrPb1MNua++ZGq7tZ+A3n7jnpD3/oOKdg3l5eXB0dES3zz5Hxy++xvTdDtjll4IjD4pg96BI6WmsRjPfVC/rm8KJ/NbqyHiZFm1bM7ZGX8bItCU/Ml6mLenLcmv0ZYxMyzZlWsbLtIwn2hqMmh7zZH2ZZpypXsbLtJqeNRg1PebJ+jLNOFN9a/Fkp7U6Ml6mTcVmim+NvoyRaVO2mS/jZZpx1vbW6MsYmbbkS8bLtJq+NRg1PebJ+jLNOFO9jJdpNT1rMGp6zJP1ZZpxYn844hHWXQlBn3HT8Vb7jliwcCHu3LkD2m0v/piS69uL90FrfiYwXnzYTbsSHzx4gOHDh+PzHh9j7soJuKmzh+6Rm9a0OdDWgLYGtDWgrYEXbg08yLuCsMyLWLphKj7v0QXDhg1VEul0IC0/7Obd9s+yc1Dtnkm791NSUrBixXL06N4Fkyd+jqToddCXHkBTjV1za6y2Q2P1YdRWHERR7k7cD1mBw/t+xIhhH+PjLm+h/Qft8N67r+Ctt/6CN9/4M954/WW8/vqfpPZHvP4atf82tv/C669x+0+8/tr/Fdp/4PXXxPbveP21/2Ns/xuvv2Zs7f43Xm/3v/B6u3+T2r/i9Xbc/gWvt/v/VNpLeL2d2P4Zr7ej9ofn0Ng29aJPtbgoXo6de/H6/tfj6+d5aJ4bmiOaK3HuxHmlMc01zzv1/43XX6f2R2MTP7eX8cYbLyuf63vvvor2H7yGDu3b4fPP3sXUn7vj/JkpyEjegqqS/WioOgxaJ+K6QY0doD9ibOKYea3prdGXMTJtyZ+Ml2lL+rLcGn0ZI9OyTZmW8TIt44m2BqOmxzxZX6YZZ6qX8TKtpmcNRk2PebK+TDPOVN9aPNlprY6Ml2lTsZniW6MvY2TalG3my3iZZpy1vTX6dqgtPwT3SzMxZvRn6PzRhzhy5AjoYXd+fr5S+k0sLfcsb3Zb8/eohmndDPymE/f8Q4p6MQFBT4go2TF9hg1eees9fDNrFZZeCsH24IfYGZavNW0OtDWgrQFtDWhr4MVaA6H5WHMjBmM3HMFr7T/Ct0OH4byjo5IY4ASE2quL4n3Q0u1fxPI9kx52U0KDzoPZvHkTPvxrB4ya0B9HL61BSMZ5ROS4ICLHWaWZ45uTsS3CMI57UcZjsZdxLDPHF2XimHWpJ745mYjlsYxnmntTOGv4sg01HcJYg2Nd6q3FM072wXzRJts1J5PxrCPyn1WfbZmLWfQh41hfLTaWifrMU8Nbi2Mb1sYi4mQfMi3a5rHYm8OLMnEs65uTiVgey3imuTeFs4Yv21DTIYw1ONal3lo842QfzBdtsl1zMhnPOiL/WfXZlrmYRR8yjvXVYmOZqM88Nby1OLbhgvAcZ/gnn8GZ65vR+5tP0adfL2zevBnx8fHK22NUe14uLfc0u+35vkn3TGq8QYzKCJw5cwaDB/fH4IEd4XjmJ1SXbEFj1Q40VRtaY/UONFTtQH3lduSlr4HL2fEYMbQT3n37T/jyi48wefIIbNk0DyePrcfVK/sQePck7oU5QBdxBrqIU9BFHIcu4ih0EXbQRRyELnw/dOF7oQvfBV34dujCt0IXvgm6sPXQha+FLnwVdGEroAuzhS5sCXRhi6ALnQ9d6FzoQmZBF2IDXcg06EKmQhcyGbqQidCFjIcuZCx0IT9CF/w9dMGjoAsZAV3IcOiCv4MueAh0wd9AFzQQuqAB0AX1gy7oa+iCekMX1Au6wB7QBX4FXeCX0AV9Dl3g59AFfQZd4KfQBXaDLvAT6AK7QhfwsaEFfgwdtYAuxp7GXQ0YBUs6pEs2yNYX0AWR/e4GX+RT8d8XuqD+xpgGQhc8GLrgb6ELHgpdMMU+Errg0dAFj4Eu5CfoQsZBFzIBupCfoQuZAl3IL9CFzIAuZCZ0IbOhC50HXehC6EIXG+eP5pHmcw10YeugC9sAXfhm6MK3QRe+E7rw3Rep0W0AACAASURBVNCF7zN8LhGHjZ8TfV720EWchu7eWYQFn4GP91G4OO3AoQMrsWD+RHzduxvefecv+Gunv2C2zVd4ELoAVcVblHUirh3U7ITWtDnQ1oC2BtpyDTRV70RC5FIsX9IHPbr/FdOn/YLQ0FDlPBjeIEYPu01tELP0d6Ymf74z8LtI3IsJCNoBQa967Ny5E92+7IF3Pv0akw+7Y7l3MtYFPMS6QENbb+yZpl7mWaJFXdYXdcQxy9V0mEd4UUeNZiz3Ip541tAixpIPEavmU01f1lHDsK3nEbNom8diTGrxiHKOSeSJY5azbVO0qENjmRb1TdkQMbK+SLO+yBPHLBftyTzCizpqtDl92Z4araYv+xQxooz5Ik8tRlnOetyLcuJZQ4sYGss021azJ/PU9EV7jBd54pjl1HNTk4s8Gss065rqZbw5mmxY8iHqM170raYv6ohj1pN55miSqclFnjhWi1HmyTbVaI6Ve1M+Vt/JxBQ7d3wxajLavf6mkoCgH1P09hi/7s+17blOLx0qy0kF6i39E7F8IC3tpqBdFnQeTO/evdD50/ZYtv1nXI3Yi6DM0wjO0po2B9oa0NaAtga0NfBirYGAdHu4huyCje1odPzoPUz9ZSpu3LgBOt+MH3bzbnvxnkl/M/K90NI9k+SM5b816Z5Jdqm2/eTJP6NH9w+xaP4XSImZi8aqdWhS2lo0Vq1FQ+U61FesRdmj5XA4MQLfDe6g7LAfNXIg7E9uRVjIRaQleyMv+zaKC/xQWeaPmgp/6CvvQF/pA32lN/QVN6CvuAZ9hRv0FZehL78Afbkj9OVnoS8/DX3ZSejLj0FfZgd92UHoy/ZBX7Yb+tId0Jdug750E/Sl66EvXQN9yUroS5ZDX7IU+pJF0JfMh754DvTFs6AvtoG+eBr0xVOgL/oZ+qIJ0BeNhb7oR+gLf4C+aBT0hSOgLxwGfeG30BcOhr7wG+gLB0Jf0B/6gr7QF/SBvqA39AW9oC/oAX1Bd+gLvoI+/0voC4wt/wvoqRVwz/yvjHjS62m0QbbIZj/oCwdAXzjI6HcI9IVDoS8cDn3RSOiLRkNfOAb6op+gLxoPfdFE6IsmQ188Ffri6dAXz4S+eDb0JfOgL1kIfcli6EtsoS9ZAX3JauhL6U2JjdCXboG+dDv0ZbugL9sLfdkB6MsOQ192BPryE9CXn4K+3AH68vPQlztDX34R+gpX6Cvcoa/wgL7CC/rKW9BX+kJfeRfV5f4oK/ZHwcM7yM7wQXzsdTid340Z03/EJ1074P13/wub1vVBVPhM1JauRkOlYd00Va0FqtcB1euNPY9FWo2nJiec2EQMjS3Roi77FHmivim5iFHzac6ebFNNX7Qv2uKxLLeGFjE0lmm2LcfHfBlvjmYbMoZtsdwSLevLtKhvySbpyvoizfoiTxyzXPYp0oQXddRoEa9mU9SX5bI9los64pjl1ItNxMg21WhRV82maM+UXMRY8iFi2bfIM+jTvam6aCXOnhyJ74Z0Qv9+vXHu3DmkpqY2P+yWN4g9zcNua+6rGubpZuB3k7inhUU/pmh3BdUb/OGnsXi361foabMWs1wjsdgnC0t9c7DE2MQx88z1hG+Njhq+NfoUi2zDkr6MZxvmrkuUPas++7MUZ1v6VItZtK82lnVkWk1H5KnhiSdi5LGsYwlvjf7T2JDtmqPbOmZzvkgm+2OeJT1RLtuwNEcyvrU+n1Wf/VmK09w1sg0RY26sFrM5PNsXY2ytDTW8aE/Nv6xjCS/bUNN/GhuyXXO0mk9zeFFmc+Ee+s/bjI6f9cJ3332n1Buk1/DlBERbve5P90xq9DCADiRaarsU77z3BsZM64ujV23hk3wQful2WtPmQFsD2hrQ1oC2Bl64NeARuQu7zs5Ft+4d0a//1zhw4ABiY2OVBAQ/7BYP16P7HT2w5sS9tX82c+KeH3bTW91paWk4ePAgenTvhnE/doKr81DUFC9EU9VSNFUtQWPlYjRULkZ9xWLUly1C2N3xmDa5Mz7s2A6Dv+kNj6snkZMViNqaaKAhFmiIBBruAw3hQH0IUB8I1PsB9beBuptAnSdQ5wHUuhkP0bwA1DoBtecA/RlAfxLQHzOWlzgE1OwDanYDNTuAmq1AzSZjImoNUL0SqF4GVC0BqhYCVfOAqjlA1UygcjpQORWonAxUTgAqxwEVPwIVPwAVo4CKEUDFMKDiW6B8MFA+CCgfAJT3A8r7AOVfA+W9gPIeQFl3oOwroOxLoOwLY/scKFNrLCc86fUw2ulttNkXKO8PlA8EKr4BKoYAFd8BFcONcX0PVIwBKsYCleOByklA5RSg8hegygaomgVUzQWqFgBVi4FqW6B6OVC9yjgvG4CaLUDNNsMud/1eQH8A0B8G9EcB/QlAf8pYe94RqHUBai8BtVeAuqtA3Q2gzhuo8wHq7wD1/kB9EFAfBjTcAxp0QAN91vF4lBuMO7cdsXnTYnTs+DaGffsBnM58h4Ks2agvX4yGisXK+qF1RM3wOVG/VBiLfB6TXMbINGNN9TJepk3pMZ/wrdFRw7dGn/w+DV7UUYuBr0etV8OL9qzRsYSXbcg+ZVrGq9Ft4VPNrileW8T4vGNWi/FpfIpz8DT6rdF5upjp/xJ6aBn/YCpmTfsYA/p1w8KFC3Hv3j3lPBjeba+2QYzvmXQv1P79fWfgN5+4F3dA0I+phIQEZSF2/qIHOg4ZhzHHb2PGjTTM8s7CTKFZokUsjQkv64gYWaaGV8OwDVnGPln+NLSajiV7chzmaFkm2uaxjFGj1XisL/dqWDWeqCfKacxNxIhjEU98NVqNxzbUZGo8xpvywXLS5cY8ubdk3xofok01f5Z8qMllnuxDpmW8OVqWWbpGa+RqGDlGmZbjMEfLMtEWj2WMGq3GY325V8Oq8UQ9UU5jbiJGHIt44qvRajy2oSZT4zHelA+Wky435sm9JfvW+BBtqvmz5IPl0z1SMXSbIzoPGYtuX3ylJASio6Nb7LaXExB07+MfU9b+jKAfXXzP5IfdWVlZsLOzQ++ve6Dz5+9iy+lpuPJgE26l7tGaNgfaGtDWgLYGtDXwwq0Br8SdOH5jCSYvHIw332kH22VL4evrq7zuLz7sFl/3f5akPd03+Z5JCY5bt27hm2++Qc/ub2P/zq+QlThBSQ43Vc5CY4WN0hrKbVBbMgNlD3/BgZ3d0afXG+jduxsOH9qIhrpkoIFaPNAQY0zs3jMkeuuDgfoAQwKYEsFKQpgSw1cNiWIlYUyJY0og08GFp42JZUowHwZqDgA1e41lVigRTQnpDUA17eKmRPVyY7JzEVA135jQngVUzjAkupWk/URj0v4n9aR9BSftKZlOSXVO2PcEyinxzsl6StJ/BpR9CpR1k9onEk0YwlMSn/S7Gx4AKA8CyD49GKAHBOaS9z8ClZS8p4cOPxuS91XTDA8lqmYbH1IsBKqXGB5eKA8x6GHGesPDDeUhBz3s2A3o9wM1h4w15o8DenvDQ5La80CtM1B70fAQpc7d8FClzguouwXU3Qbq7xofvoQC9RFAwwOgIQpoiAMaElFbE4/EhNuYNXMCun/1AVYu7Yb7QT+gpng66stsQGunsWImmioNTXmoojx8mGm8FurpYYRMq/FEjDhWw6rxzOmIMh6LNsQxydVoNR7bknsZa8qmqCfrEK3GYx1zMvZnCcO2rMVbskdycxhzMo7FGoyIlX1a0leTq/FEHzymXvbHPBkj0vJYtmHOP9u3hBF9qGHVeOZ0RBmPRRvimORqtBqPbcm9AUv/pxRkTob90b7o+/W7GD9uDC5cuIDMzMwnatvTG2pabXtr/7L+dXG/2cS9nICgRUb1DC9evIiv+/TFW5/1xZcL92C8WwomemRgkkem0iZ6ZIIb8Xgs9tby2Sb3bINp7mU+02JPWKZNjUnONrlX02GeiBd5any2xz3jmeae+WyDaZKrjZnHeBnHdtX4oq6avihX02fbMo75so6I4zFjmeZe5jPNvSkc86knLNOmxoxjuzLOHJ9tc89YpsXeGruEl3FsQ+Qzj/GijMZiY6zIU8MzTuxlHMtEPvHM2WYdsWe8yBPtMJ9x3Fvisw0RpzZmHuPJPvPYF/cyn2nuZRzzqbfGLuPYjqwj2uMxY5nmXuYzzb0pHPOpJyzTpsaMY7syzhyfbXPPWKbF3hq7hJdxbIP5E65l4IezEeg8dgE6fNYT48ePV3bAU0KdExB8UJDajylrfzLwPVNMQNDDbj8/P0ybNg0fdHoL4+f1xdkAW1xP3IwbyVuEZoomvijjsRpflLHtp8GxHdEGjdVsMUbsTeHU+OyLe9mPyGeZ7MsSX7RhbizK1HywH8Zxz1imuVfjizJxzLa5F2XmxizjXvbJNPemcOb4oszc2JxM9M847kUZjU3xGce9KRzxRZm5Mcu4V7NNMpZzL+PM8UWZOGYb1BNflJkbs4x7tsM09zJfpk3hiC/KzI1FGdunXuTTmGnuGcs092p8USaORT/EF2XmxizjXvbJNPemcOb4oszc2JxM9M847kUZjU3xGce9KRzxRdlmXIhYjWV7f0S3Hh3RvUd3ODk5ITExUUlAmNpt/zQPuvm+SUl/SmTQgwAqkbN9+3a89tpfMGPqBwj0GYj6MkoUT0JTxUQ0lk9EQ9kE1JdOQGX+OCRFjsCEn97Gl5+/h6WLpyMjLQhNDSlAQ5IxcU87sSmxy4l72qlNiV9fQyK4nhLC1wFKENe6AnWUMKbEMSWQzwC1lFCmxPJRQ6K5ebf9TqCaEvebgBoqlUAJ6hUtd9tX02772UAl7UqnBDftUqfd6rRrnZL2tIt9NFAp7LSnpH0F7bTvD1RQ0r43UNbLuEveuMO+XEzWdwXKqH1sbF2Asi5AKfcfA6UkI4wxuU/65ZTE5wQ+PRCg3fd9gApj8r6cd94PNey8rxwFVNKbAfSGwDhj8n4yUDUVqJphTIDNAapp1z09tKBd9yuAGnqYsRao2QhUbwGqtwM1uwDadU8PQZRDMultBnqr4bThLQflbQcXoO4yUOcG1F0z7Lqvp133lLj3AxrorQl6eyLc8DZFPb1VQW9XJKCpIQkVpTHw97uEIYN74YeRH+DcyR4oyfkRdSXjlfXTWD5BWU+0plDJjT4bsYl8Hos9Y0UejWU+09wznmnumc82mCa52ph5jJdxbFeNL+qq6YtyNX22LeOYL+uIOB4zlmnuZT7T3JvCMZ96wjJtasw4tivjzPHZNveMZVrsrbFLeBnHNkQ+8xgvymgsNsaKPDU848RexrFM5BPPnG3WEXvGizzRDvMZx70lPtsQcWpj5jGe7DOPfXEv85nm/jGuqmAcHgR9h1HD30DvXl2xadMm6HQ65Q01c7vt6R5ITfv3YszA7yJxzyVyoqKiMH36dLzf5XO0/34OBtjdwSjXNIy6km5obsaeaBqLNPMYy7SIkXVEmajHYzW8qCPLWU/snwZvTkeUiX7EsYihsUgTTo0WeeJYDS/6YrmoQ2ORlvGsI/JFvJq+KGd9kSeOWS7al8eyD5mW8Wo2RZ9q+qKc9UWeOFbzxzosk33INOPEXvYh0yKWxrJNNVrWkWnRh5q+KJd1OQaRbw1exKj5FO2pjc3pm4pJ1hHtijKRz2O1GK3RYX3qRbxsT5YzLeuYsifyeSz7kGnGib3oj/giraYvyhkv8sSx6Eccixgam6NFPR6LeOLJNOOod03HiItJ+GrlCbzWrQ969O6D/fv3Iz09vbneIJV/k3fbP+3OQXG3PZXcoYcDlIDo3bc7vhzQAXuv/IKLkcvhnrBaaVcTVoOaSPPYVC/jzdFqNkQ8yUWaxiIty5kWMeJYzR/rsEz2IdOME3vZh0yLWBrLNtVoWUemRR+yPvsQdWSMqK+GF3VZLupYsifrsw3my/qynGnZJ+uzXKTlsexDpmW8mk3Zv0ibwosYcazmT7ZBeFFHptVsiHhL9mQ506INcazmj3VYJsco04wTe9mHTItYGss21WhZR6ZFH7I++xB1ZIyor4YXdVku6liyJ+uzDebL+rKcadkn67NcpOWx7EOmZbyaTdm/SJvCixhxrObPLX4Vdl6YgqETv8D77d+Fra2tcrhebm6uch5MaWmpUgLueey2p/NgLl26hBHDh+Cjj/4TFxw+RX7at8ZyLaPQWD4KDWUj0VA6EnXFI1CaPRQBN3tjUP8/YcSwnjjrsA81VYlAIyXuE407sDlxHyGUyaHEPSWAKRFsLJOj7Oy+DNQKZXKU3fZimZyDxoTzLqCGEtCUiKaENNU9VtttbyyRU8UlcmiXOiV9xhqT9lSCZqSxJA2VppF32lMy3bjLvpyS7JRs5931nKz/G1DW2dg+Aso+Akr/CpRxIx7JCUfJfEri8258TuB/Jey+N+68rxB33lPynh4u0EOGHwwPHZSHD3QtlLynhxL0cIJ23VPJHCoRROUtlhlLB4m77o3lcmr2GHbd62nXvbFcTu0poNbB+NDEWC6njsvl0MMVb6BeKJfTEAQ0ULkcKoNEiXt6u4LeskhCnT5ReYgz02YChn3XEds2dEJu0hDoi0agvnSkso5oPTWVU4kirWlzoK0BbQ083Rqg/0PSY7/B/p1d8O7b/4mJE8cpZcXFDWJ8HsyzlGN9MVLbv+8ofpOJe376w/UGaZHRqx6046Lb51/grT6j8belx9DPIQqDLqQ+bhdTMYga8cSxSLNc5LENUzrPSy7HYMr/3yNma30+j5itnRf5c/k9xyzPSVvQso3n8Vmasil/dtbSL3LMv+f1Z+pztPaa5c9N7fM25UPGPotPa33IPpmmXrQhjkWZMcaBTon4+lgw3hg4Du93+QyzZs1CYGCgUiKHd0Dwj6lnOVxP/Bkj7iCkhwJU3/CG1zXc9LuKxNwQpBSFICbfEwGZJ3AtcR0uxy3FpbglSrsctwTUDPRSZfyYNsiepEV9g86T9kQM2THQ1Le0p04znuwS/klaLWb2YdB5Mia+Ztkn41sXc8vrUItRtteamOUYDbS1Pk3Ns3l92SfPC8Ut+jc1z7I+68jzINOmPhfW53kzxNNyLcg+OWbZx/OJueW88HVwDCItxtPamGW8Ot1yXigG0acYk0HfsBZMzYuIN9h6cu2o+WB7LWM0PU9yjDLNn701Mbf0yd+BJ+OWfTxLzLJPcd6eJWb1GB//f8hrq6V/6+a5pQ7Nj6Gp+2T54/9PZX2+TnV9OWa1GB3C5mLKir745KsOGDhwADw9PZXD9SipTm9ey4friQ+6n2bnIP/NSQ++qf5vUlISbt68AW8vZ+RmXUddladhB3z1DjSWj0dD6beoLx6I2qIBKEjrCzenj9H9i3/HxAnfwtvrHBrqKGlPZXISjDuwo4B6SuxSfXsuk8P17SlxT2VyaEc31benxL0LoKcyOZRApkQy1V83lslRyrvseVwmp3qzsNt+pTFRTQlrrm1PiWwboHKasSY87dCk3eo/GXevU6KI6sgPfVzTvoLL4xiT9kpNeipvQ7vsace8kLAv5SR9J6D0Q6CMWkdDKzX2Cq+TMZFPeEriUwK/K1BKCfxPjbvvzSTvy+nhyTCgkh4yUPJ+jLHUj7FkjrLrnh5OUBkJelhhrHXPu+6rVwM19HCD3k6g0kLbAT2dEbAP0NPDEDvjWw0njW85GMvl0NsPdfQWhLFcjvJ2xC3lbYmayluorfJDY12I8W2Kx3Xu0ZiEhtokFDy6j9Wr5mLwoE5YMu9NpEb3Qk3BANQVD0RDyUA0lg1CEzXlLAF6y0Fr2hxoa0BbA61bA1WP+sPbrRu+/eZVfNylk3IeTGRkZIvzYLi2vVgih99Se5r7pvh3pzZuuxn4zSbueecgLTD6oaa87j/DBq9+2BVvT1iNrrt90P1sInqcT9aaNgfaGtDWgLYGtDXwgq2BJHxuF4oOs/fgvzt0xZBhI2Bvb6/stqcSOeYSEPxj6ml/CtCPMEpm0EOBoqJCFJcUoKKmBNV1paisK0JRdTqSiu7ibsZRXIpdAueYuXCKnqM1bQ60NaCtAW0NaGvg77YGHKNmY9XJ4eg19EN82eNTrF+/XkmkP3z4UNltTw+jOQHRVg+7+T5L910qL1dSUozioofQ1+SjsaEQaHxk2EFf54em6m1oKBuNuqLe0Bd8hbzEz3Dy4Hvo3OlfYDNjDMJCr6KxnhP3XN8+EqjnMjmUuKeDTe8YDjpV6tvTTm6xvr2xTI5yKC2XyTliSDA3l8nhQ2l5t/1qY5kcOthwsTFxTTvPKZEt7ranRDfViKfE9+iWh9HSobDKQbTG8ji8016pSS8m7SnpTsn3vxqS9ZSgL+0AlLYHSj8Q2vvCmGSE+RAopSQ+7cKnHfhcQofr36sk75Wa91S+RzistsWue3oYQYft8kG1Qq172nXffEgtnQFAh9TSww7adU9vLXC5HDqkVq1cDr39wOVyPIxvR9Bhwr54EH4CUQ8cUPjIG01ULqeeyiHR2xWGOveNdUkoL43B7p2r0L/vR5gy/k+IC++K6kdfobawO+qLu6OxtDuaSnsoTTmwlw7t1Zo2B9oa0NaAlWugsbQHooK6Yu2yt/FRp1cxY8Z03L59WzkP5nltEON7pta3/Qz85hL34s4HSjzQDzN61cPJ2RnfjhiFbqOmoPfWS+h1JhqfOSTh49OJWtPmQFsD2hrQ1oC2Bl6oNfC3Y5Fov8oF//XZYLzT6W9Yv2EDwsPDVXdAWJuAaGxqQFVtORLy7+NBth8ism4/2TJvIzzTB6HpN+EXdxW+MVfgl+CGoNSrCM7wQFSePx5VpKGgKhUx+V5wS1iF81E2cIj8RWvaHGhrQFsD2hrQ1sDfZQ2cvj8Fh+6Mx7dTOuNvn72PCRMnKAfS5uXlgRIQJSUlysNoSq7L90xzD7v19dXILEmELsf/yfsl30MzbyMs/RYCEj1wJ/YK7sa7Iiz9CiIy3RCbdwuPynRoakhHU91N5WDR2qJeqHnUBVmxnbBjwyt4583/iQXzJyMhztdQ375RrG9PO7EpcU8HmZqob18r1rd3MtRZp3rrSt11SijbATUHjYlmoUyOfCgtHcqqutueEttUVkbcbS+VyKHSNMrhsHRQLB9C+wWg1LOnnfGUZKeEPSXdKflOO+rbA2WUrKck/btSe0eg3zNiCN/BuDOfSukIu++VEjxUioeT97Tjnx4iUK39QUDFEMObAVQyhx46KA8fxINqqdb9dGOte3poYdx1X22sdU9nANBZAMqZAFuNby3Q2wviIbX0dgO95UCHAtNbD1QuhxL3VC7HWOdeedhyGyeOLsaBvfPh52OHyjJ/NClvVdABtVznPhm1NUk4cXw7evfqghHf/h/oAjqgMu9v0Bd0QX1RFzQUd0FjycdoojMAlHMAaI61ps2Btga0NWDdGijJ7IyTB9/ENwP+gu7dP1MOpOXzYExtEBPfUmv71LNm8Vlm4DeVuOekPfecuE9LS8PVax7YceAI9l/1x867aZh9MxsDL6TgkzOJ6HQyHh2Ox6G9sX1gZkwysVmrwzju2YZMt5Yv6lszJvsijv2p8RnHPWOZ5l7mM829jGM+9aLM1FjEiRiRL9pU47Me94wXaVNjxnIv4phHvcxnmnvGMs29zGeae3M4UWZqTHZEGdttDZ/1uWcbIm1qzFjuTeFEvhibKT7b417GmeKLOGvGYixsk3tRX8S1ls/2uJf1mS/6MDcWZbItmWbbMp9p7tVwokwcM5Z7UzKZzzT3sr4pPuO4N4dTk5GeGp94bJN7GWeKL+JEOzJflin2jsXinS038fKPK/Avf2yHEaNGw8PDQymRIx9IS6Xg6uvrlR3ynHyge6DaP319FZIKHmC1xxhMOPs3/HDqg1a1H898iNXXxyAk/TqKq7OQXhIOr+QdcNBNxcn746Q2XqJleWtoa22Zwsl8meZYTPFZ3prelC2ZL9Ot8WEt1lofbY2zNj413IsUi1p8arwXKea2jsVae2rzYi3PWh/W4qz1q4az1kdb49RisZb3IsXy68Z84t5YHLz7A+Yf6oMPur6M3n26K6/7U117LpEjnwfDyQe+b6rdM4mXW5aG40FrMMXx01bdL+n+OuZ0eyy6MgjuUXtRW5uGpvpoNFSsQW3h16jOex+purexavF/4pU//xNsl9ogKzPYsDu/0Yr69nW0c5vK5HgAtVwmh3Z4U8L4rOGgVL1QJocOUlV2iO807hjfBFSLh9JSglrcbT/LcGhr5VSgkmrbC7vtqdyMUjOeascPMZZooRI5fYSDaKmmPe20F5L2tFte2TVPu+cpYU8JeUrYU5L+rcet5E2glBvx3zZihAS+UkqHd98bS+dw8r6ckvf08IAeItBhtQMA5bBaY8kcpS6/WOuedt1PMda6p7cMeNf9IqB6qXHXvbFcDh1Sq5TLobcWjOVy6KGInt5qoEOA7VXq3FO5nKvGQ4SpvJEPVi4bi9Eje2PD2mmIjb6Aen0YmurpIY2xzn1jEpoaUuHkeBA9un+C/r3/BWG330B5znuoefg+6go+QH3hB2goao/G4g/QWNIeTUr7AE0l1JjmXuYzzb0pnCm+6EMes03uZRum+IzjXsaZ4jOOe3M4UWZqTHZEGdttDZ/1uWcbIm1qzFjuTeFEvhibKT7b417GmeKLOGvGYixsk3tRX8S1ls/2uJf1mS/6MDcWZbItmWbbMp9p7tVwokwcM5Z7UzKZzzT3sr4p/gfK/xuhPm9i2qT/QNeP38GCBQuUN9QePXqkPOxuq/NgTN1bNX7bz8BvKnGvdvmU0KBdFpnZOUjJzEFaYTnSimuQUFgDv8wK7A17iAFOCXjfLhLt9j/QmjYH2hrQ1oC2BrQ18HddA6/sDMZ/TduPf+3cB//+n/+NQ4cOIzo6ujkBQTV6+XV/KgdH9zlOPvCDa7X7YVlNEXwSL2DmhV4Yc6p965MQp9pjmtOX8Ig5ibyyJGSU3Id30h4cCx2Hg0EjjG04DgZRY1rsRb4pJUCTSwAAIABJREFUnLV82Rb7EfnEE2lzY1Em2lLjs5x7wqjhZL6IMTcWZeyDepFPY5FmnLV8NV32IcpMjdmfmg7LTMXCcu7N4Uz5F/lsh3tRZm4sykRda/iEUcORHZFvasz+GC/iZBnThFHDmeKzbVFfbdwanKhvTSxqGPZnTib6URszT82WqfloLZ9tsy9T8ZrDmdKxNpbW6j9NLGo6an6fJmbRjjjmOeVelJkaM5bjfYzb5zcMqxz7oceIt/Cndv+OWbMN58FQAqKoqAiUtH/a82DuZ/thk/dkjDndodX3TEreTz7fFUcDFqOwIhKNdfHQl25GeW4PFKe9irjQP2PJnH/Dy3/8H1i2bCZys0PVD6alUioNIUB9IFDnB9TxwbRUJod2ctOO7kvGHd6OgF6sb3/EsNterG9fTTvGKXFPdduNZXKqqEzOQqB6vqHOu1LvnQ5tnQJUUmJ7vKG2fQUlvGm3/TCAascrCXHabd8XKKNd7j0ASpwrB9FSTXvaDd7ZeOAslboxlsQpeQ8oeQcoocT8G0DJ60Dpa8bWDihpZxgTv+QNY1KfE/i0Q18on6McaNvFWPOeHhZQTf3uQHkvw8OE5l33XDKHdt3TwbpU8mcsUDUBqOJyOTOEXfc0H1QuZxlQQ4f3UrkcKi9krHPP5XKozn0N1bk/BtRSeaIzgJ7r3HO5HKpzT5+XF1B/CyuWj8Xc2SOxbs0UbN82BzmZnqiriTAk7hsNB9SiMR0XXA6je/du6N39D/C/8UcUJL+K0vRXUZ71Kipz2qEqtx2q89qh+qGh1TxsB6U9MvZMq/XmMOZkbEvGyDTjTPUyXqbV9KzBqOkxT9aXacaZ6mW8TKvpyRiZlnVkuSVa1ida1BHHalg1nqwj07KOLJdpGa9GizriWA1LPBljiZbttBZvyadsT/ZnSV8NL/NkHzIt4034rMp9FflJr2D7un/HZ5/8C/r26amcByMfSFtVVQXtQFq1v6hfTN5vJnFPiQvaVUGvd9CBCpTkSE9PB+1OJJ7f3bvw8b0D34BAPIiORUpmNtLyChCekoMjN4IwZPE2vDJgPF7qOlhr2hxoa0BbA9oa0NbA328N/G0g/vBOV/z5vQ8xcdIk3LlzRzlgnesNUtJe7XV/c0l7+olRWl0I73hHzLrQG3Mu9sGyqyNge3UE5lzqp+zAn32xD5a6Dcdi16GY6fw1xjt0ho1zLyy6/B0WXf4WM12+xi+OX+JyhB2SMqMRcs8Pq7fPQe+RHfDJwFel1k6gaSzSItYU3xqMrCvSpsZkV5RZ40fGmNKXcSLNY1lXptVwhLEGx7pyb05XlIlj0YbMl2nGmuKznHrCWIsT9Xgs64q0qTH7ZRtiL+qIfHFsDYbwpnAyX6ZFXzwmjDU4xsu9tbptjZPjINraa2nrWKy1ZypmNT5fD8tkHzJtCsd8sTenK8rEsTl9a3CEsQYn+hHH1uqKOFNjsivKrPFjwHTt/wo+/PJl/LHdv2HIt9/gzJkzSElJUf4GpM1b9LCb7plPk4Cg0nGbvH7GNKcvYOs+HCuujcYC10HKDvxfnL7AUrdhsHUbiTkX+uPnc90w5fxnWHR5CJa6DsPcC/0w3ak79vnMQ3L2fWRnx8H53CosmPMRvh/+Er4b9M/o8P4/4Z//8P8YEvc5xsR9o3AwbYPawbQ+gFjfnhL3tZS4N9a3r6XEsbn69luMCWhKRFNCerlhZ/kTZXJ+MdZ/pzI5Y42Jbkp4jzCWnaHyM5S0N+62p0R582G0VHeeDqL9myFpr9Syp2Q7l8WhJDwl5CkxT4n6V4GSV4CSvwiNaOKTXEzg0w592n3/gbF0Du28p7I5VB6CHhZ8Znh4oDxE4JI5vOteqHVPDyEq6KBd4yG1ytsF9LCCdt2L5XKWAdUrASqXQ28p1GxCU/VWFOVuQG7aeuSkbkRO2hbkpG1DTtou5KTtRU76AeSkH0ZO+hHkpJ9ATsYp5GQ4ICfjPHIynTF39nBs3vgLLrlswvGjK3Di6CokJ1yFvoo+73jQAbVoTGtO3P/xv/8HBnz9B4we9hJ+GP4Sxox8CT9SG/USfqI2WmvaHGhrQFsD1q0B+n9j1HcvoXOnP6BXzy7YsGE94uLiQOfBUIkcfkOtpqbmidJypt7qfjFT2f9YUb3wiXuqU5iZmYnTp0/D1tYWkydPxrhx4zB16lTlh1tUVBSuXLmCOXPmYOSoURg1ejQmTZqEjRs34vqNG8jIzIQuKgo79+7HgG+H4bV3PsBf3nxHa9ocaGtAWwPaGtDWwK+6Bl55811we+u9D9B/4CA4OjoqD5/pwbRaAoLL5FhK2ouJ+/mXB8IuYDl8El1wM8EJRwNXKsn8w/7L4BV7Hld1p7DPZxFmOPfEnlsLcOXeSbhGHFd4s1364GKYHeJTo+HvfxfzF87BR1064s132mlNmwNtDWhrQFsD2hr4ldfAa3jzndfw9ntvoOOHHbBt+zaEhoZanYCwlISgxP3Wm9Ow/sYEeMWdQ0DqNZwL347lV0dh3Y3xuBHrgFuxF3HCfz2WuA7DqqtjcDn8KDx1jjh+dx2WXRmJPbfmIy5Nh+SUROzauQUDBnTHu+/8GW++8Sf8x3/8K/7p/zXuuM8JARqTASVxTyVTIgFK3NeHAfV0MG2AcDCtl3EHN5VgcQVqL0qJ+5PGA1NpJ7hU3552jNNBq8oOckpILwPoIFalrjslrGcBlTMAsUxOhTFxXzEKqBhuOOyVdtu3OJCWDkcVS+RQCZuPDAfKKofLUtKey+LQLvvXhIT9n4GSl4GSPwmNaOJTMp+S+MYEvlJGhxL/lLynuvdUL59q3tOBtfSwgB4aUH19add9+SCgnGvd01sD9BDiR2Ptfno4QW8XTAMqbQxvHVTR2wdUPojr3NPbCevQVL0RdRWbcMJuNDavH4wdW4Zix5bh2LFlJHZsGY0dW3/Ajq0/YsfWn7Bj6zjs2DoBO7ZOwo6tk7Fj21Ts2DYNI0d0x/698xD14CxCAk9i/94luOq2H2nJXqjTRwFULqkxFRdcDik77l966X/itXb/pawbWjvvvfuXx+29v+A9rWlzoK0BbQ1YsQbef+8VcOvY8T3MmmUDLy8vUGk5tQ1i9GY3l5az5m/Nf6xU+Yt1tS904p4WUXZ2Ns6ePYuxY8di8ODBGDRoEL755huMGDECx48fR0xMDNzd3TFz5kxFRvK+ffti2LBhWLVqFcLCwpSd+vfu3cORI0eUBP+0adOgNW0OtDWgrQFtDWhr4HmvgenTp0NsM2bMgI2NDRYuXIj9+/cr9zA6XI8PCeISOfLhetb8mOId9wtdB+OS7hDSimKRUhCFy5F2mH95EC4+OIikR5GIyQqDY+gezL3YH+dCdiEyPQS6tCCFN//SQFy5fxwZuSnK7gx7e3vMnz9fu2dqvxu0NaCtAW0NaGvgV1kDavdM2qBFf9f5+fkpG7q4RA6/oca77VvzsJv+JKfE/fZbM7DHdx4S8+/jUUWWUnJuk9dk7PGdi/iHEcjIT8L1SAesuz4e271tcC/VH8k5sbimO4P11ydi3+1FSMmNR15eLlxdXbFy5Uplo9mYMWPQuXNnvPTSS8Yd98bEPe24VmqdU+KeDqYNAxrExP0toJ4S9x7/P3tnAR7Ftb//+7/31957eyu3t260lOLuboVS3EoEdylWoEAIXqAUKFC0QIu7a4IG4mGBBAkaRYKEJMTd3v/znZ0ThiVokcib5znP7M7uzs585mxm9z3veb9AqkSwiHAvkSyGwrQpSrhfDEi+ffI8QIt2+RVInAZohWnFQS7C/WhdoNZjcsRxHi+FWiXfvicQZ4jJ0fLhv7s32z6ukTmWJsttr0fkiAtey7Uvo2faFzNE44gIL2K8Euw/BKKkfaC39/WlrBMx/xMgWjnwJVLnKyBKxPsSZte9ZOdrhW9lsEBy9ZXrXrLuGwJxjfXZASouRwYfLIvU9gYSZJaBCPd6zn3iSEBihBLH6bFCk5GZMBWJUT+jc4cKsLWqgNEjG2G0XWOMtmuK0XbNMNquBUbbtcJou9YYbdcWo+3aYbSdFUbb2WC0nS1Gj+qA0aM6YZ/DTESGHUBUxGEccVqCFcsn4fChZbh1w12LVbor3FfDZ599pmkXvXr1Qp8+fTSDopgU+/Xr90I+c8/7uzC3z99b7APPrw9YXjPlt6Zoo2J63rp1KwIDA7NEexUrZ3nNNEay5iy5mnujCORo4V5yl44cOYIOHTpg7ty5WkEFGRUSQUM6nUyNNDZZJ1/YRABZv3691mHnzZun5R9K5xQ3o2Q7yfRKNjJgH2AfYB9gH3gRfSA4OBjSJN5Nmswiu3HjhuYYlLg3NW0xOwFCvkipL1Pqwv2gpRLuh25vgplHBmLTybnY6PMbZjsPRv/NdTHzcHbrBmDjyTnY4D0bs48MhsTpiMMwKj5cix6QmQBSAP5FcOJ78PPIPsA+wD7APqCumXLtUddMMXLJILdck0S0l8J68rtPZfRmN9j9oGulcb0I99Od+mGMgzXW+8zCjjOLscjDHjIArq3ztlxnhfXes7D99CL87j5Ki9JZ7DEat2OvIyUlWYvvEZFEZoTLb1gRVD744AODcB9gjkoxCvfpx4G0o0Cah9lxn3YYSD1wV7hPUcK9Xpg2ZTWQLML9n0DyYkDLtxfhXgrTqnx7Y2FaEaZFoFbCvQjXKiZH8u27mp3pxqK0sS2BWInJkeKvUgRW3PYq216Ec3G/VwBiVK69uOP1eBzNOa9E+490wf49IOpdc4t8B4hSTdaLiC8CvjjwxX0v8TmSiS8FbKW4rUTmiOteReZUBWJrALFG1/235tkBcS2AOClSK8K9zB6QzP4u98blJGSXcy9xQuac+8zEn5EYNQUD+tXAlvXdgaT5QPKiuwVqJede4opSVM79dr0OgcyOkILCTkCa1Clw02ZRZKQcRUykG3bvnItVK36Gq/NqJCX4avUOzI77aqhVqxa2bduG06dPa4YOibXw8/PTtA/pT6rx/yP/P7IPsA9Y9gHLa+bVq1c1zVNc9qoYrZrVbTSI0W1v/DaQ82/naOFecpg2bdqkCfdnzpzRvpyJwGEymTSn4vz586HaokWLtMgB6Zwi0l+6dElz2MuotXRmyT6UL3iyTenMbGTAPsA+wD7APvC8+4CI9NJk0FiEBxHsRXyQa5US7ZUAYczoVa7BxxXt5euGEu4HbKmPbmsroOf6qui5voqWZd9pdemHrKtift66iui7sVaWcC/ZhzKtUvb9eXPi9vlZZB9gH2AfYB9Q10x13ZRrpogP8vtNrpki2isBQkR7ldFrKUA87k9wEe5/PtADXdaU066DvdZX1WrCdF5T9rHW9d5QHVnCfWqKtn8y2CC/Q2V2gDgfP/zwQ124N5kjUtIvAunngPQzuuNehHsvIM0dSHUxC7+aACyFaXcDKTt0x70S7lcByct14V4E5flA0lyDcC8FVlVhWj3fPnEEkDBMd5or4b6XLmirmBxbQ0yOEu5FEJcc+Xp6TI7Kttfd9iKoi7AuArtWiFbicYyi/ftA5LtA5P+AyLeByP/q7S3zMup/ZhE/0ijey+vFsS8Z+YbIHHHdR8tggcq6r2UeTIgV170MLjQB4prrwr3MGtDjcuIl515mFcggRR8gQWYbGHLuVYFabXbCJGQmTslGuP8dSDYUqL1HuN9mnhWRqoT7Q0DakSzhXmKQMlJPwPv4eixZNB7r1v6K6EgfZKYH6lE51VC7dm1ttobU8BPBXoR6EefU4JX0Kf5/5P9H9gH2Acs+YHnNlN+acs1UA93yO06umZJr/yCD2OPM6n7cayqf9/wI5GjhXjqdOOfFcS8XMXFTyBc2+SI0bdo0rf3yyy+Q9uuvv2L58uXaFzv58iZi/YoVK9C9e3ftwidf7KSzSueV7bKRAfsA+wD7APvA8+4D8sVJNREexC1oFB/ki9SjXIOPyuhVXxGUcC8Z98uO/gSPYAe4B+3GctMkDN76jXld0B64Be7KWrfUayLcg/bANWAnlh2dhGHbm+KAOO4TwrVBcPmyJ/v9vDlx+/wssg+wD7APsA+o66Us5dqjBrnl95uYt9RA98NE+8e9Zsq1U2XcTz3YCy4BO+AT4ozNp+ZhvGN7TD3YEy4B27XnbD45F+MdbTH1QE84+2+H99XD2qy2iXs7QerHhMVeh/z+lGumCCcivHp5eWHw4MFm4X70QNy8np1w7wOkHQfSlXDvrDu2xXGvC/epItxvAVJ04T55FZBiEO41R7gI97M0x/3NYHsMGVQD7dqUQIumhdG6RRH06FIayxc3wu0rvfV8+35Aggj33fQCrlLIVeXbi2PdmG8vRWmV216PydEEdIPbXou1kVx7EdzFNS/xNx+YRXsR5zXB/k0g8g0g8nW9yf23kHDjvwg8+TZ2rP0vIgIlSkec9yLeyyCAwXUvBXC1TH1x+6u4nDq4FVATIwZ/gUs+deB3sh6Ou9TF1QtNkBlrBcS3B+I74crF7+CwrRFuBHRCSlRfXbgfAiQON8cISR0AvUBtZoJZuO/ftzpWL++E6LAZiL49C9FhcxAdPh/RYYsQHf4HosOXITp8JaLD1yA6fD2iIzYhOmIboiN2IjpiD5LiDiEjxR1pyR4Iu3UQWzbOwNrVv8B0dCOSEyXn/q5wX6dOHTg4OGgDPiLYG2eayOCVGsDi/0j+j2QfYB+w7APquqmumZa/NSWhhKK9+rWce5c5WriXL2hyERPhXgrQSmeUTicXM3d393uap6cnJMdeBBBpzs7OmDJlCsaNG6eJJiL6i5tRvlCJaMJGBuwD7APsA+wDL6IPiOAgTQae5bom1yERHyy/SGU31f9JXBBKuLfb1VorshebHJXlwpd1By6uR2xSJKISw3Ho0gaY161DTOIdRCaE3V13YR2iEyK0wXLZR9n3F8GJ78HPI/sA+wD7APvAg66ZxoHuBzntn+SaqYT7WUcGagXdI+JvIROZmlCvrfMYA21d5t11ItKHx93UIuy8rx2GPE9bF3tDi2uVfRQRRX6rShFdyeb/6KOPMGaMLtyn+wNGx32aCPfH7jruJWJFola0qJwHCPcpynH/hx7hIo77ObpwPx0B535EpQqfoHf3ChhjVxOTxtXG5PG1YD+iCg7uaY2wq1KoVaJydOFeHOkSKaMJ9+JUNwr3er59rBLuRTCvDESXBzQHvMFtn1WMVoR3ib55T3fai8teBPv/AJGvAZH/1pvcfx3JoW/i5sW34HXgLcRcE+e9iP4i/htd91L4trT+vhXvKVIb5FsN1av8F0cPV4fJuSb2bK6Kc8caIiPmbs792eMtsWB2dfiftkXSHXHdWxSolToABuE+KXoKBg+oiaGD62LhXCssnGuDhXPbY+Hcjlg4tzMWzu2KhXO7Y+Hcnlg4tzcWzu2LhfO+x8J5A7Bw3iBMm9oHTvtnI/yWI0JvOGKf4zysXD4Jrs4rEBbqiYw0qXMQlOW4r1u3Lvbv36+ZDcVBq6KhRPsQEU4Jcfz/yP+P7APsA9n1AfU7U81Kk9+altdMy1x7db18ksHu3Ct75/49z9HCvYgYkvU2ZswYjBw5EkuXLtWmke3evRt79+7VMuCkU8qUEVdXV8h6aeLSnzhxolb8T4R/EfsldkC+5IkIIa9hIwP2AfYB9gH2gRfRB0Skly9P0uQaJIPLcl1SjkHLL1IqHudJv1Ap4f6hjnvNhX+v497D4MI3O+7Nwr1cN2UfZf9fBCe+Bz+P7APsA+wD7ANyzVHXTctrpoqUe9hA95OIEI923Btd+Lrj3uDCn7jP7LgPj72B9PR07douIqsIrz4+Phg2bNj9wn2GISpHhPt0o3D/oKgc5bhfC2jC/TI9c10iXO4X7itX/AQu+7si8Y4dkDAK4dcGYv6s+pg/uy68nL9D8PkOMLm0xOmjLRFz0wbXLrWGj/s3OOZSH8dc6sLbrTZuBzdA3M0G8DtZDUcPl4e3a1mYDpeCn08pZESVR/zNUjh2+EuYnD7HscOfwevgR0gK/QwZdz6G34l34bn/LZx0fQOHd76GW5deQ9KtfyHk3Ktw3fMKfD1egcueV3H59L+REvo6oq+8iaCT/0VcyHu4dPw9eB54H6fcPoLTro8QHlQI6XeK4frFoji8uxBOexaH16GSOO5cBlfPV0GQb1VUr/KWLtzXwJ7NVeBraoC4W61x2qsxbgS0xdljSri3QcS17gg82xnBF7oj8c4P8PHsiqibw5ARPxYJd8bietBIXAsYhUXz2mLsqG9gP1Lat7Af2Rj2I5vCfmRz2I9sAfuRrWA/sjXsR7aF/ch2sB9pBfuRNrC3a4/69crhl5/7wvvYMrg5L8bc2cOxz3EhQq46ISNVYpL87hHu69evj0OHDmkDPuKmVTNNlOFDmT74/5H/H9kH2Aey6wPGa6bxuinXTONAt4piNf7GfJJrZu6Xv3PvEeRo4V6wirhx4sQJdO7cGUWLFsV7772Hd955B59//jnGjx+PU6dOYfXq1ZALnqx/99138f7776NJkyZadI4IJCKCKOFetqdc+VyaZyeQAzmwD7APsA88vz4g1x3VRAhXX6JEsH9Wor1cL5Vw/+QZ93oW/rqK6LexFg5cNLvwRYRQMXPsH8+vf5At2bIPsA+wD9ztA+p6KUvjNVOuR3LNfFaivVw3n03GvdmFn56Rrl3fRWQVp7TUZxs+fDg+/vhjs+P+xoOicgzCfao47g/pRU4lM10y7rfrUTlSDHUtkLwSSDYI90lSmPZex70I9w7b2uNm8BBE3hiCEP++2LGhBebOrIvNa77Fgt9qo1XzAhg6qCTOHm+O5YuqoWvHL9Clw+fo0uEzdLD+BHu3VcQZr+oYZ/cF2rV6F326fQjrNu9g+qRPkHCrLI4dLgSbtm+hg9Ub6GL7Blo3ew3+3h8i/saHmDLmdTSq/woG93kVVSv9A3s3vYrr517F2iX/QI0qf4PdD/8P9Wv/Dcvnv4Lbfq/Bx+U/mDXlNZzzehsT7P6DJt/8C4P7vYFK5f8JN8fPEBtSBFtXf4qqlV/DsIEfwKr1/2DV+h0s+u0rBJ1Rwn01mJxrYNemKjAdqYsTbg0w+PvC2L25HnyPtcT8WdVxztsKXkfaYva0Wli2uBGu+feBrVUxHHPrhuSo0bh8cQg2rbHBzi1dEHF9ol43YC6QvBBIkkLAS/XCwKuBlPVAyiZz/YHUnUDqHiBlH5B6EOPGdMKMaf2wYe1PmDfnR6xcNhHXrxxARsppQCtM7GcuTrv5d9SrVw1ff/21VsxYBnxEtBf3rPSj7MQ4/q+4+7+CLMiCfcDcB9R1U10zjb815ZopUW6ihz6tOSz3yt15Z89zvHAvI0DS2eQLkLe3t+a037p1K3bs2KFNQRRXg+TfiwNf1m/fvl2L0JF8OBltks6phHv5sidf+oxNOjUbGbAPsA+wD7APPIs+YLy+qNtKoFdL9QVKfYkSgVya8cvU03zNUML90O1NMPPIQC1/d6PPb5jtPBj9N9d95LrfnAdjyLZGZuE+KVLbH9lHdRyyfBaMuA1+1tgH2AfYB9gHpA8Yry/qtrpWqqXxmmm8bv7Va6YS7qc79cMYB2us95mFHWcWY5GHPUbsbPlY60bv+c4clRN3EyLcyzGI2Cq/T8+ePavN/taE+/sy7s8C6SLiWkTlGIX7lCcQ7pNFuJ8JJE1HwNkfUanix7D+riT69qyA73tXQCfbEihS+H/Yt0Nc9tZY9Wd9/DS2AsKv2iL6hg2WLqiKeb+Ww51rzXHnWhNMHlcMW9eUw+bVZdClw4fwOlQON/0q4bhzKZxwKY7AUyVQp+Z/4LSzAMICC+HGxS/gvu9DjB/5Js55vYs/5ryBOVP/jfCANxDg/RqCT/0TF03/h+2r/h+mjvsbwv3/hkvH/o7Lp0TQ/zd8XF7DrCn/hvvet7Bo1ptYMudthAd+gvOmT3HZtyBCAwrjytkiOO1ZBJFXyyLicgWMGfEJhg/+9D7hfv2KivhjQXm0a/0JPJwaIiHMFhKVM3NqFWxd1xCDvy+NreuaIi6sP0ICHiLc39CF+2RduE9eDKQ8QrhP3QekHcS4sZ3QtXNj2I3ohFUrJuBWyH6kJkotA18g47zZca9l3N8V7l1cXLSYJRHtxVErOoYavDKKcfzfyf+d7AP5uw+oa6Vxqa6XsnycayZd9k/zS/vlvibHC/cKj3w5k39SciGTC5o0uaDJFzhZL1PJZJ0s5SIn6+U10kQQkfvSpCOzkQH7APsA+wD7wMvoA3IdEseDmqqoBPtnIUAo4V4Eh+1nFuHynQsICj+LHb5L8OOO5tj2GOvktZKFH6ML97KfL4MT35OfT/YB9gH2AfYB4zVTXTfV7zs11V/9VnyapTjuZx4egLkuw+Afdgq340JwxH8rfjnY+7HWTTvUJ0u4l/2SPiu/T+X36Pnz57Wo1yzH/fWjgGTcZ1wA0nXhPisqxxNIcwO0jHuD4z4lG8d9ioXjPpuonEoVP8HS31vAy7kbfDy74ZhrJxzY1RbhV3vD37cjtq77Bn8uqIW06K64FdQOG1fVxPb1NYC4tkBcK2xaVQFb15aH2/5KcNhSRhPIO1m/h+4d38OK37/A+WPF8UWBV9Hs29fR0fpNtG/3Omza/gfdOvwHF0zv4sju/2LciH/Dtu0raNP8Hzi4/RXcuvh/OHH475hk/zd0aPc3fNfi/2Hjsldx47wu3E/+N/xOvI39297G6B/fgE3b19Cq6Wtw3/cpoq8VwSn3Qpg46gPYfvc2urZ/F7WqvYEh/T8xROWYHffTfiqOZt9+gM8LvIajR75BZmxHTbifOLo8enYtirKl38HS3xsgM/6H+4X7S0Owaa3uuL/xk9lxbxTuxXGfsgJIMTjuU7cCKbrjXoT71IOYMK4z+vRuiYXzh8PvwmakJh5FZtpJs3CvHPfpUpzWLNw3aNBAMx6K216J9kqsV4Ic/x/y/yH7APvAo/pAdtdM9Vv7aM+zAAAgAElEQVRTXTMp2j/Nt4WX/5pcI9w/DipjZ5Tb6ouddFYllHBpFozIgRzYB9gH2AdebB+Qa5GxqWuULNX163GudQ96TnRSBJz8NkEy7pd4jsUR/y3a/T+9xmPw1oaPtW7YjqY4eGkDYpOitH3i9fPF9hF+JsmbfYB9gH3gbh8wXjPltrpuqmumLP/K38kQF/x6uD+m7O+uFXX3DHbEeu+ZGOtggyn7uz1y3cS9HbHEc5xWxDYjM0MziYmBTMTXixcvws7O7m5UjhLuteK0BuE+qzhtNsJ9dlE5jyHc35NxnzgKSBgOJAwFEgYj8Fwn7Nj4LdYsrYv0mK6IuGaN1UurY92yqlnC/Z/zy2DzqnLwca+Ko4crYs0fRTFzyhfo3/MD/Dr5U5iciqBwoX9iUN//YdrEdzFt4juYMu5tTP/pLfideA/njv4Pm1e8gV/G/Qv2Q1/FrCmvwGPf/+HS8X9g9/q/Y8bEv8N+yD8w95dXcHD7v8xROZNfw/mjb+OMxzvYvOJ/+HncWxj5w1uYN/09OG7+DLs3FsCMSR9h6vhPMGNyAbRs8na2wv2i38pgzPCi6N+7EFYsqorAs6004X7apEqYM6MG+vcphYW/1cOFk11wPaAPOrcvgWOu3ZAUaQ8/30H48/fW2LG5MyKUcJ80F0iyiMoxCvcpunCfsgfQhfs1K0dh2R92OOb1J5Li5LyeAB4i3Dds2BAeHh6QopNSD0n6kLhpRbQXIc5SjOP/iLv/I8iCLNgH7vaB533N/CvXW772rxHIM8K98Qucuq2+3HFpnnlADuTAPsA+wD6Qs/qAul79VfFBvgrEp8TAJ8QZk/d3xU/7OmOG0/eQCIAJ+zpiyPZvMX5vh4eukyJ7kw90g+nKASSmxmvCPftLzuovPB88H+wD7AP5uQ8Yr5nP4roZEH4aMrgtUTnTnfpqkXKTD3TFiF0tYbe7zSPXTdrfBVtPL0RssnmwWwRWcUqL+Hrp0iWMGjUKn3zyyTPKuN/4RBn3WcVps4T7IdkK9ymRHbSM+4mjS8J5bx04762JHwcVwva15XHKoxrW/FkCjltKwW1/aUwa/Rl+Hv8JTrkXQ98e72DpfCkg+ykO7/4EO9a9D48D7+PauQ9weNfb2LLyDbg5vo4NS/+NCSNfwY41r+DowVewadnfcfTAP7Duj//D3F9e1R73cXkdsya/Bu8jb8Np5/+wY907cNv7AdYseR8/2b+D+TM+wJI5H2PG5I/hebAonHYXQ68u72PYQBWV819Dcdqq8HGvj/MnGmH08BJaxv0Jt2ZYMLs6/E/bwMfTCgtm18WKJY1wM6gvxtvXwPLFzbB/VwdsWmOFKRMbYvumzoi4rjvusxXu1zw04/7C2RUI9NuA2MhDyEw16cL9qXsd9xlB2LplkZZxL8K9l5eXNlNDZmxImoAS7Y1CXH7+7PPYee1jH3jyPvCsr5l/TXrmq/8KgVwv3Ft2Rt7PzHJukgVZsA+wD7AP5I4+8Fcu5Oq1GZnpmniw78JqrDBNxmLPMU/UxDUojv3Q2GvIhNnFyP6TO/oPzxPPE/sA+0B+6wPq2vdXlklpCTh+9RDWnJj+RNdLdX3defYP+IWd1K6Zwl+cnyK6ivjq7+8Pe3v7pxDunfTitI56cdodenFaJdyvApKXA8l/AMm/A0nz7ylOe/nSCDRpVARezj2QFGkHiHCfqBz3P+DKxS7Yv7Mptq5toDnuEd8ZjtvqoU/3Qqhb6z3UrfUu+vf+Ah4HqyHgdG1M++krFCvyGpo2ehtf130L40d9jLQ75RERXBKtm72Jr+u8hkZfv4YGdf+Fy2c+RnLox5g6/k3UqvYK2jZ/FaWK/wPr//wnrpz5N9b98SrKlfo7OrT7ByqW+wfmTfsXrp19A74eb2Dx7NcR4PMuJti9jppV/4nvWr6GUsVfxe6Nn8DPuxAW/PoRihf9F9q3exv1a7+J2jXexM/jC+Ly2epo0eQ9+LjXwEmPWji0qzou+XyDjJh2mDqxDNYtrwXX/Y2xYnFtBJ2zRdKdPvhzQX1Mn1wbYVe/x1GXzmjZrDBq1SyAjrZlMGFsAzju7I7IW5P04rTzzMVpk5eYi9PKjIcUJdxvBlK3Aao4rea4F7H+MJDmAqR5AGkmIN0bSDcI9xl6cVpduP/mm29w9OhRrSCtctsrl70SK/Pb55vHy2sa+8Cz7QN/5VrJ1758ArleuLdEyA/4s/2Akyd5sg+wD7APPNs+YHndepb3MzMzkJQar7nv45Kj8aRNRIz0zHRtl3jen+15J0/yZB9gH2AfeLo+8Cyvk8ZtySB1SnoSElJin/h6KddXmZ2WlpGibVIEVskfzla4v6847Tkg/czd4rTpXkCaO5DqAqQ6AWkHgFRduE/dAaRuAVI26I57o3C/yCzcSw570iytOG1a3BSEhdgjJXosMhPGmIX7hBFAwjAg4QekxfRH0p1eSIzoDsR3B+I6IynCBpEhbXA7uDluBzdFZEhjJEc0RlrkN4i9UQ+3/KsjPLgqwoIqITqkAhBdARlRZREeVBxhgYW1ArVhgV8gLeJzZEZ+iphrH+K2/3sID3wHt/z+i4QbbyEt/A0k3HgdoZf+g4ggWb6OuGtvIj38baSGvYO46+8hLfxDxFz9GLf9P0VE0Oe45VcQiaFFkBZRHHE3SuKWf2lEXC6HsKAKuB1UBTE3aiItsj7CL9dFyp1GSLnTFEnhzZEW1QaIs0bMrXZICGuP5DudER/WBWkxvZAZ9z3iw/ohNnQAMuKGISVqOMKvDcXtqz8i4vooxISOQ1LUZGQk/Aok/QYki3D/OyDCfcoyIFlqDKiM+81AioVwn3YISDsCpLmahft0cdwbhPus4rR3HfdKuJeIJZmxodz2MhBE4f7p/mfwfy255ec+YLzO8XbeIJDnhPu8cVp4FCRAAiRAAiRAAiRAAiRAAiRAAjmdgAhEEmmihPu4uLj7HffXTUBGAKBl3Cvh/iSQdhxIO/oYwr047tcByUq4/xNINgr3s4GkGUDiL0DSFCBxIpA4Fki0BxJGZgn3iB8IxPcDEnrrwn0XIL4jEG8LxLUD4kT0bgnENgVivwViGwIx9YGY2kBMDSCmKhBTEYgpD0SXBqJLANFFgejCQNSXQHQBIOoTIOojIOoDIOpdIPJ/QOTbQNR/zS1Slm/r698Fot4Hoj4Eoj4Goj4Dor4AogoB0UWAmOJAdCkguiwQUwGIqQLEVAdiawGxdYGYr4HYRkBsEyC2ORDbGoj7DoizAeI7QGYUIL4bEN8TSOgLxPcHEgaZM/+1mQgyI0EGOMYDiZOAxJ+1ARAkzQSSHyTc6477VCXc7wJSHcwZ95pw76wXG5aiw7pwn3ZaL0osxYmzd9xbCveqroMSIHP654D7RwIkQAIk8HwIULh/Ply5VRIgARIgARIgARIgARIgARIggTxMQERVcUWLO1qEeykqKsJ9QECAISpnEG7eOKYL95eA9PN63rkI91K4VIR7iVURx/1hIFUc93vNUTniuNcKoG4yC/dSGFWLyhHhfjGQvADQcthFuP/VLNwninD/E5A4DkgcrQv3P2qOeySIcP89EN8HiO8BxHcF4joBcSLcW+kFakW4bwbENgZivwFivwZi6gAxNYGYakBMJV1EL6uL6iKuFwGiv9JFd0vx/j0gUgT6d+42uR/5Xjai/ef6AMBX+oCADAyUBmLK6QMGMnAgAwgykFAPiG2gC/cy0NBCH3iQAQgbIE4GJGRgQmYX9ALiRbgfoGX9m4v1ykwEEe5lgGOCWbhPmnpXuE+aAyTPv+u4TxbH/SrzzAdtBoQI99uBVBHuZYbEfiBVHPci3LsDaTKT4pjZcZ8l3F8EMvwBQ8a9OO5NJpNW1Fg57qU/GYX7PPwR4qGRAAmQAAk8ggCF+0cA4sMkQAIkQAIkQAIkQAIkQAIkQAIkYCSgnNCPL9wHAukWwn26UbiXeBUR7g/qwv0ec366xLGkGIX7Fea89Szhfp451kWE+6RpgKVwn2gHJIhwLwVqxW3eXxexexqE+/ZavAzi2gKxrYC45kCcuNjFzd7ALJLH1DK73TXXu7juyxlc98XM4r045TXHvIj3n+oueuW+F2e93iLFjS8ue3lMHPqfAdEi2hcEokS0l4EA3W0fo9z2lXXHvwwg1AVi65tnBGgzA5qZZwrI/msDEDIQoYR7GaCQGQYy00CE+x/0GQgjzDMSNOFeZihMBiyF+6QF5pkNWk2BZUCKUbjfAqQahXsZcJGoIwvhPt0HSFeOeyXcB2cVp6Vwb/xU8TYJkAAJkIAlAQr3lkR4nwRIgARIgARIgARIgARIgARIgAQeQuCvC/enzI57LQfdE0h1BVIlH10J9xK/stNcAFUT7tcDyRLTIgVSxf29BEhaaM5hlzx2iXdJnAYk/aw77iX+ZQyQIMK9XqA2frDuOhf3eU8gTmJkJE6mg+5Sl5iZNmb3usTlxInrXo/Lia0DxBpc99ESl6Nc9yWAKBWZI+K9CPAixIt4L03EeYnCEaFemtyWdfJYASBa4nEKAtF6RE6UiPYlgZgygPY+4vIXt311QAYQJCZHue1lgEEGGmTAIVb23xqIaw/EdzIPTGgzC/oACTLTYKAu3P8IaAMa9vrMBBHuZaaCRA3N0GsGzNVnNMjMhj+BFCkKLFFF64CUjXrtARHud+uO+wNAmgj3UphWHPdHgXSJQlLC/Tkg4yKQLo57JdxXB4X7h3zI+BAJkAAJkAAo3LMTkAAJkAAJkAAJkAAJkAAJkAAJkMATEHgy4f44kBEIZPgB6ZJzfhZIPwWke+s56JKH7mYubKo57veZc9NTdpkLoKZILIsUqF2jF0jVhXspnJo0H5BYFxHuk6abc9q1vHaJf7m/QK3mOhf3ueZC1+NyJOf+nrgc3XWvZcdn57oXEV3E9PK6uF7y3rx7EeA18V4EeRHwxYEv+fXSRKyXpaxTLnsR7JXTXtz7ekROtIrIkWx7iekR0V4GEIxuexlgkJgcybfXY3Ky8u2NMTkq315mHsgMBDtDvr1EC00xz1jQZi5I9JAU/ZWBkSX6DIcVgEQVSa0BbSBlK6AVDxbhXqKNZMDlsC7cS/SRRCCdANJP6sWIpbaBOO4DKNw/weeMTyUBEiCB/E6Awn1+7wE8fhIgARIgARIgARIgARIgARIggSci8OTCfZA531wrUCvCvcSniHAvOeiShy7CvbM5J13LS3cENOF+O5CyxezyTlmru75FuP9DL1ArOfci3M8yFKidrBeolZx7cZVLgVoVlyOuc3Gf6657ybnX3OlG170I9y30IrW6617E8nuy7kVM18X76DJAjBSRFcFdj83RhHgR5MV9L+0Ls7NeueuzHPYi2BfWM+11p31Wrr0UpFUROTWA2NpArDHbXvYtm5gcreCu5NvrMTkJKiZn8N2YHE24N+Tba4VpZcaCDIDIDAaJIDIK9zLTQS9Mqwn32/QZERJppIR7mTEhkUeWwr2vXtvgki7cX8bWLYtRr95dx310dDSYcf9EH0E+mQRIgATyBQEK9/niNPMgSYAESIAESIAESIAESIAESIAEnhWBRwn3Y8eOxaeffgp7+4EIuWYC0oPNMSmacC/u6zPmGJU0iVMR4d4dSBXh3kkvdKoXqE2xKFCrxbVIbIteoFZy2I0Fau/JuZe4nNF6LIwel5Mg4rW4z0W4l6Kt4krvYs6E11z34lqXuBxVpNaQdS+iuVYYVkXmiHhfUY+zkdic0uaIGy2fXqJz9KK1mogvAr0I+eLGV2K9PC7PUy57Ef8lHkfy8y1Eey1jXyJyvjZk26uitAa3vcTkSMFdbUBCcvz1mBwpzKvl/MsAxsj78+0TLQrTajMZftcHSJbqMx3W6jMfZAaE1B6QwrQSaSQzJA7pUUci3MsMCpNefFhmVohwLzMtZMZFIDLTg7Fp40LUr18DjRs3xrFjx0Dh/ll9MrkdEiABEshbBCjc563zyaMhARIgARIgARIgARIgARIgARJ4zgQeJNzHx8cjKCgIkydPRsGCBTH8x74I8HfVxFot3zyrQK0I9xKjIsK9xKqIcC/56CLcS6FTEYP3ACk7dZF4E5C8Xo9r0QvUJkn+ukXOvSbc/wwkTQIS9bichFFA4gjdbS7FWaVIq4rLEXG7my52qyK1khUvYri47psBseJs/8YsmmuFYWsDMdmI91JIVhPelfteHPQiyos4rzctC1+J9fJ4Cd2tXxrQCtFKdr4MBhic9ioiJ0ZF5DTSi+dKEV2ZHWAoSqvF/ojbXo/J0QYoZKBCBiyG6nn/KiZnHJBkyLdPtMi3T14EJMkAiSpMKzE5Elm02VyYVhPuHfWBlkPmqCNt5oQMxBzTZ1QYhPsMP2SmByA1OQCrVsxGwwa10aZNG3h7e1O4f86fV26eBEiABHIrAQr3ufXMcb9JgARIgARIgARIgARIgARIgAReCoGHCfeXL1/G7NmzUbx4cQzo3xU+3o7ISJOonAAgS7gXF/ZJQHPci3Av8SpSoPawnpe+D0hx0ONyxN1tyLmXArXJ4gKX/HVxhc8HklVcznQgaSqQqOJyJA7G3uwyz4rLGQTES1xOH3OR2vtc91a6GC7ivRR+Fdf9t7rT/WtAxPv7nPeVdJe85NIr97048EXEVxn4EqWjmqyTx+Q5ErUjLntdtI8RJ7/k6Es8jp5rH/OgiJw2d7Pt4yTuR4rtSvyPHpMjx6m57Y0xOTKQIfn/MrAxCUgy5tv/Zi74qw2IyMDIUiAlm3x7mQlhLEyrzZRw1gvTinBvLEwr0UjiuPdHRlog4mIuYN6cn9D426/RvXt3nDlzRhPuExMTkZKSgrS0NKSnp0P1sZfSwfmmJEACJEACOYIAhfsccRq4EyRAAiRAAiRAAiRAAiRAAiRAArmFgBJVMzIyNKFVBNekpCSI4/7q1av4448/UL58eXTraoMjTpuQnhqkxaSY41L0ArVp4sZWOfcSryIxK0fuzblPlQK1es59sri9Ja5lFZAicTmSc7/YnMVujMtJ/EUXo6Xo6nggQeJyRgEJ4roX17mI2AOA+4rUSsSMyrq3iMyJawLEPUi8r64L7ZV1t3wFswivifFldSe9iPMSg6OWIu7LY1LgVp4v0TiSmV8FiJZCtLpor+XqW4j2cXpB2lgZWPgOiLfWi+t21GN/DG57Lc9/0L0xOQmS+y8DGhPNnCQmJ1EGPGbqAyAyECIDIjIwIvUELPLtU4359vuANENh2nSVb39cH5g5Y8i390d6SgAiwk5j0k/D0bx5YwwbNgwXL15ETEwMKNznlk8/95MESIAEXhwBCvcvjjXfiQRIgARIgARIgARIgARIgARIII8REBFfBHxxSYtbWoqMBgQEwMHBAe5uLrh+PQgZGXFAZiyQGQNkRgGZ4UBGiO7EPnFvzn1WXI7EsOwGUlXO/UYgReJaVgPJelyOJi4v1IupSlFVKa46DZBiq+Im11zlD3PdZ5d1bxGZc0/efXbifS2z0B4jgrs45SXmRkT4igZRXoR5EenFVS+3VZPnyPOVy14GAWrqhWgl017icRoAsY30yB491z7WMiKnAxAvbvtud932WlFaybaXeKChQOJw8wCG5raX/H8Z2BC3vQx0/KoX+J0LJC8wF/7VBkZUTI4MmAh/KRRsmW+vhHvLfHuJQjIUptVicvwRcu0YfhjUA61aNtMilSRaKTY2lsJ9Hvu/wMMhARIggWdBgML9s6DIbZAACZAACZAACZAACZAACZAACeRbAsqBr0T85ORk3LlzBxEREYiLi0VGRhqAdACyTAWQbBbyM24CGVKs9pgelyM59xKXIzn3UqBWip+qnHuJy5Gc+zV6sVRxg4vrfpFZbE5ScTmS1f6LWZQWV7m47jWxWrnuh+litrjujZE5Inp3NhSqlcgcPe/+geK9FKw1RufUAGJEfBcRX8R4aSLMZ9fU4/JceY28Vo/GiX2UaG+MyGkPxKuCtBKRI0V3++pFeA1u+0TLorQysCH1AHS3fZIMfMzT6wZITI7k22cXkyMzIGRAxZhvLzE5bvoAjJxLbyDdkG+f7ofMtADERp+Dq8sWfPddM7Rvb4MVK1bgxo0bFO7z7X8OHjgJkAAJPJwAhfuH8+GjJEACJEACJEACJEACJEACJEACJJBFID0jDbdiruDczaPwCXE2t2vO8NGb97UjOH7ZCa4X98D53C64X3LAiSuH4BNyWGtnb3rgRrQ/0jMSgMw4IOOyHqvyGHE5WnHUtUDyKiBZ4nJEXNaL1IronDRbd49PA5KMRWp1172I1wnDDZE5/bOJzBHnuorMsRDv46RYrcq8l4K14ob/GogVAb+Onn0vDnwpXitivGoizhubWi9ivTxXCt7K65VgL9tseK/TXorlasVolWgvETki2usROaogrZbdr7LtxW0vAxUj7nfbJ03W3faqKK0MfKiYHBkQsYzJkYETcdtLvv0efWBFue1lwMXdXGhYCg6n+wDpp4F0c759ZrofkhMvINDfFePG/YC6dWti2LChcHFx0Qd34u5x3MsMDjUYlNXxeIMESIAESCDfEaBwn+9OOQ+YBEiABEiABEiABEiABEiABEjgaQnEJkViy6n5GLy1ITqsKvnEbeDWr7HOezpikkJ15/0tc6RKmhQ1dQNSxb3tdNd1r7m7JS5HYlo26a57y7ic382is+YanwUkZeO6TxgDJEhhVnGeK9e9ONJFvBeHujjVuwNxXYE4Y959duK9RNY01oV1EdhFaK+vu+91AV8Ky2oOeom+0ZsWgyNCvTRx19cGYuX5kmMvsThS/Fa2942eqS+DBCrTvhUQaxTtbQ2ivcwW6AkkSMHdfuYMf8nyT5RMf4nIsQPuybaX4r0ysCEDHBKTY3DbJ8kMBhHuZWBEOEtMjtQXEP7bAak7oM2E2GeuR6DVJZCYHA8g3QSknUBmmg8y004jI+0sMlLPIz7mDC4HuWLLpt9RuPAXaNiwgVYHITg4WCtMK7URpEZCamqqFrlE4f5pP518HQmQAAnkLQIU7vPW+eTRkAAJkAAJkAAJkAAJkAAJkAAJPEcCwRHnscBtJLqtq/jEor0I/d3WVsDsI4MQGHYSmZlJQGYYkH7ubs59mguQKnE54uYWcdgyLkdEZBWXo1z3Ki5HXPeGrHtx3d+TdT8aSBAR2+i6lxx4y8icLnr8THbOe8mXbw7EGt33kkEvgrvBgS8ufM2JL1E64qSXplz1ctsg1mvCvy7Yx0qOvgwKiGDfHIhrCWiFaNvq0T16MVqZFRAv+6mL9vG99QGIAUCCisjR3fbagMUYPTbImG2vYnLmAMnitheOUpR2qR6Ts0YfKJEBk63megNa3QGJMZI4IxlgUTE5MmPChIzUE0hN8kZi3AnERh3H7Vte2Ou4FIMHdUWZMsVRoMCnGD58OFxdXREeHq4VppW6CBKvROH+OX5wuWkSIAESyIUEKNznwpPGXSYBEiABEiABEiABEiABEiABEng5BALDfTHP9Uf031wXdrtaY5yjrbbst6k2+mysaV7nYIuRu1qj76Za6L2hOn7c1hyjdn6H4dtb4PtNdTHj0Pc4f/0okpPicDvUH+d8HWDyXAaT558weS6GyXMhTJ7zYfKcA5PHbJg8ZsLkMR0mj19g8pgCk8dPMLlPgMl9HEzuo2FyHwWT+0iY3IfD5D4UJvcfYHIfCJN7f5jc+sHk1hsmt54wuXaHybULTK6dYHLtAJOrLUyu1jC5toPJpS1MLq1gcmkBk0szmFyawuTSGCbnb2Fy+QYml69hcq4Pk3M9mJzrwORcCybnmjA514DJuTpMztVgcq4C05HKMB2pZGgVYTqSXZPnyHOlVYHJuaq+DdmWbFO2X1t/L3lPef8G+r7IPjXR91P2tyVMrm1gcv0OJlcrmFxtYHJtD5NrR/14u8Hk2gMmt14wufWFye17mNwHwOQ+SGc1DCb3ETC528Hkbg+T+1iYPMbD5DERJo/JMHlMhcljGkweM2DymAWT528wec7Tz9MimDyXwOS5FCav5fBwXYYD+xZh08aZWLJoIsaN6Y+2bRqhQvnSqFixAnr06I69e/fiypUriIyMzMq3F+FeihtLkWPluH85PZzvSgIkQAIkkFMIULjPKWeC+0ECJEACJEACz5CAykV93OUzfGtuigRIgARIgATyNAER7he4jcCEvR2x/cwieAY7YqfvEvy0rwvGO7bH9tOL4BHkgB1nFuOnfZ0x1sEGG0/MxcFzm7HBNAfj93TA9AP94B3ogrDwUDg57cW4sT/A1qYRbG2+ga1NA9jafA1bm/qwtakHW+u6sLWuA1vr2rC1rgVb6xqwta4OW+tqsLWuClvrKrC1rgxb60p6qwBb6/KwtS4HW+uysLUuA1vr0rC1KgVbq5KwtSoBW6visLUqBlurorC1KgJbq8J6KwRbqy9ha1VQb1/Att0XsLX6HLZWBWDb7jO9fQrbdp/Att3HhvYRbNt9qLcPYNvucZp6vizl9dLUNmX70uS91PsW0PdF9knto+yv7PdX+jHI8chxyfHJccrxynFLK6XzEC7ShJPwqqizE47CU7gKX+EsvGvq7GvD1qYObG3q6udHzpOcr4b6uZNz+C1srJvAyqop2n3XFE2bNkTjxo3Qvr0tJkyYgN27dyMoKEgrXhwdHQ0Vk5OSkqIJ90q0l+9w/CMBEiABEsjfBCjc5+/zz6MnARIgARLIgwQsxXqZdh0aGgp/f38EBARoPxDFzWX5vDyIgodEAiRAAiRAAs+cgAj3C91GYoZTPxy/egi3Y0MgBWlnOw/GdKd+OHblIEJjr+HEVSfMOjII0w71gWfgXlwOvQS3i3sw/cD3Wjvu74ybN29g27Zt6NKlC8qXL8+WBxhUrlwZdevWRcuWLbXzOnDgQEybNg1btmyBj48Pbt68qUXkREVFaW57xuQ8848oN0gCJEACeYYAhfs8cyp5ICRAAiRAAvmdgFGIF7eWiMDZy2cAACAASURBVPMy5fr27dvYvHkzRo8erTm9Tp48qf1QlMeMri7j6/M7Sx4/CZAACZAACTyIgHLc2+/5DstNkzRn/QrTFIze0w52u9pg+VHLda2x7OhP2HbqdyzzmoTRe6ww02kAzoYcQ3x8nOa+dnJywsaNG9lyOYNNmzZh69at2LVrFw4ePAh3d3ecOHECFy9exLVr13Dr1i2EhYVpETkxMTH3ue0Zk/OgTx3XkwAJkED+JEDhPn+edx41CZAACZBAHiOgRHcR4pVoL1mpUvRs3bp1aNOmDb4s+CWKFyuOHj16wNPTU/vRqH4gWgr4eQwPD4cESIAESIAEnhkBEe7nugxD93WV0WNdZfRaX1VbdllTDp3XlH3gup7687qvq4Rfnfrj4i1vpKSmQOJSrl69ikuXLrHlcgZ+fn5ZMxwlDic4OFg7t9evX9dmP8r3sjt37mgFaePi4pCYmJhVlFYZKtR3smfWYbkhEiABEiCBXEuAwn2uPXXccRIgARIgARIwEzCK9iLES0tKStKKnol7r1WLlij1VQkU/uBLFP34KxT5qgj6f98f+/fv11xfloXQ1PbIlwRIgARIgARI4H4CynEv+fV7zi2Hz7UjcDy/EpP3d8PEvR21dRKd43BuhbZOsvD3nF2GE1cPw+Hcckw50B2zjwzGpVAfpKWlaq5rmR0njmy23M0gJCQEItLfuHFDaxKLI3GF4rKPiIjIctpnJ9orMwW/h93/meMaEiABEsivBCjc59czz+MmARIgARLIEwTUjzvlsleivWTZr1mzBm3btEXxgsXwddFa6FypHdpXbIPSn5ZA2ZJlMHjwYOzbt0/7MSk5+PzBmCe6BA+CBEiABEjgORPQMu7d7TDHeQj8w05pNWPuWXf7FDIyMxAQdkbLwv/NeQj8Qk8iPSMd/mGnscBtJH5z/sEs3Kenaa5rEXUlRoUtdzMQkV4GYaSJWC8OeyXYy8wKFY9j6bTnd7Dn/KHl5kmABEgglxKgcJ9LTxx3mwRIgARIgAQsRXtxzovTPjAwEKtWrYKNtQ0KfPgZaheujhENBmCJ7UwssPoF3au3R5lPS6BKucqaeC8ZrDJtOyUlheI9uxUJkAAJkAAJPILA4zjuxYVv6bj3viaO+xX3OO7T09O0qBQRdUXgtWwi/LLlLAaW58jyvnynioyM1JoUoJVzGxsbC3HZSyFa+a4mcYZimpDvbpYzHx/R/fgwCZAACZBAPiJA4T4fnWweKgmQAAmQQN4hIKK9uOyV015+9MmPQJmavXz5crRu1RoFP/kClT4vhzHNhmFNj0XYM2Addn2/Giu7zkfvWp1QtkAplC5RGn379tUy7y3Fe5WxqgYI8g49HgkJkAAJkAAJPD0BEe6fJuNeZeFrGfeH+5td+Onp2sB5fHy8JvCKyMuWOxmIm97YlFgv51YEe+WyF6OEEu3FaW902z99r+QrSYAESIAE8iIBCvd58azymEiABEiABPI0ASWkG0V7cW/J9OwVK1agWdNmKPz5V6hVpBomt7XHxu+XwnHIRuwfthn7h22C45ANWNlzPvrW64oKX5ZFka8Ko1u3bnBzc9Oc98bYHIr3ebor8eBIgARIgASegoBy3Nvv+Q7LTZOw48xirDBNweg97WC3u80j1411sMbsI4M04T4jI11zXMt1XAReyyYubbacxcDyHFneF5FeCfUi1iuHvdFlbxTsjd+1nqI78iUkQAIkQAJ5mACF+zx8cnloJEACJEACeY9AdqK9/DgMDg7G2rVr0aJFC5QqUhINy9TFuDbDsXXwSuwfuQWHRm3DoVHbzUu7bdg7fCP+7DUH/Rp2R6XC5VGscFH069dPy7yXXFZjbA5/UOa9fsQjIgESIAESeHoCWp6920jMcOqH41cP4XZsCKQY7WznwZj+GOt+cx6sZdxL7r0I9yLiynVXhF0RedlyHwM5d9k15a5XDnsVi2N02avvdk/fI/lKEiABEiCBvEqAwn1ePbM8LhIgARIggTxHQP2wMzrtRbT39/fH6tWrtXicEl8Vx7flG2Dsdz9iy9AVODxuJ46M25Vt22e/BUv7zUX/xr1Q9svSWsHaQQMHwdHRUSuqlp14n+eg8oBIgARIgARI4AkJBEWcxUI3O0zc2xHbzyyCZ7AjdvouwU/7umC8Y/uHrHPQnjd5fzdNuJdCtSLcy3VdBF0Rd1WTazBb7mCgzpnlUs6pasphr5ZGU4T6fveE3ZBPJwESIAESyAcEKNzng5PMQyQBEiABEsj9BNSPOqNoL9OvAwICsHrVarS3scXnHxVA/dK1McHGDttGrobLpD1wnewA18mOhnbvfaeJO7FmyBL0/bY7yhUqjcrlK2HwoMGQgrVSDE/cY8oVpn5k5n6aPAISIAESIAESeHoCt2KuYL33TIzf2wFTD/bEzCMDMfVgL9jtao0Ru1o9ct2EvR2w6thU3IgORkZmBuQaL9daJfJyeVfwzk0slCif3VK+Qxmb+l739L2QryQBEiABEsgPBCjc54ezzGMkARIgARLI1QTkx536sad+2Iugfv36daxcuRJt27RFoc++RI3iVfBz53HYNXY93Kbthcf0/Y/VnKc6YJv9avRv3hsVCpdDudJltdgcd3d3REREPDA2R/aLfyRAAiRAAiSQ3wikZ6Ti7E0vbD41H4s9xzxx23RyLk5dd0NaRqqGzvI6n53wy3XmSKGczEF9V8tuqYR64zK/fW54vCRAAiRAAk9OgML9kzPjK0iABEiABEjghRGw/DEvzjPJvpUc+qVLl2qFaIt+WQT1ytbCrN4/w3HSFrjP3A+v3w7h6G9OOJq1lNvZN3mu28z92Dp2NYa06Y+qJSqjaOGi6NKlC1xdXbWCtfK+8mNZ/RjlD88X1gX4RiRAAiRAAjmOQCZS01OQkBqHuOToJ27yutT0ZADmAXDjNZW3M7UZCHmJQ47rvtwhEiABEiCBXEOAwn2uOVXcURIgARIggfxGQP1oFbFcRHMRz1UhWsm0b968OcoUL42m1Rphaq8JODB9B7zmHcKxBUdwfKHzEzV5jcfcA9gwdgWGthuAaqWqoEjhIprzfv/+/QgLC9Nyd7MT7/PbeeHxkgAJkAAJkAAJkAAJkAAJkAAJkMDzJkDh/nkT5vZJgARIgARI4CkIPEi0l0K0a9asQatWrVCyaAk0r9kEU/tMwL5ft+PEH67w+cNNb+7w+UOa5X21Xj2m7puf57nwEDZMWIFhNoNQvlg5lC9TDoMGDYKDg4Pm8pfCa5bi/VMcHl9CAiRAAiRAAiRAAiRAAiRAAiRAAiTwEAIU7h8Chw+RAAmQAAmQwMsgkJ1oL4VoAwMDIU779rbt8WWBgmhUrQGm95+Eg3N24eQKD5xe6fWX26mVXjj2pzO2/7IeP9j0R6Xi5VGpfEUMGDAABw4c0DLvJaqH4v3L6Bl8TxIgARIgARIgARIgARIgARIggfxCgMJ9fjnTPE4SIAESIIFcQSA70V4VohWn/Xdtv0PBAl+gTvmamDNsOo78vhen1x6F7/pj8N1wzLyU29k1y8ct7xtec3K1J5wWOmBo+wGoWKI8ypYui++//x6enp4IDw+/p2Ct2udcAZg7SQIkQAIkQAIkQAIkQAIkQAIkQAK5gACF+1xwkriLJEACJEAC+YOACOCq+KvKtBd3e2hoKJYvX44WzVugeOFiaFC1PhbYzYLbsoPw3XQM57f44MIzbrJN2fb+hTsxqvuPqFWhOkoUK44ePXrAxcVFc95nF5tDET9/9FUeJQmQAAmQAAmQAAmQAAmQAAmQwPMlQOH++fLl1kmABEiABEjgsQgowduyEG1QUBBWrlyJZs2aoWzJMmj1dQvMtZsJz9VHcG67Ny7tOo1Lu87oTW6r++p2dkv1fFmq56vb994/s/U4HBZsx9g+dqhbuTaKFCmCvn374lEFa+V4+EcCJEACJEACJEACJEACJEACJEACJPB0BCjcPx03vooESIAESIAEnhmBB4n2fn5+WLVqlbkQbbGSaN2wJX4b9Ss81znDb+9ZBOw790La2V3ecFi0HWP62aFS6YqoUK48Bg8aBEdHxwcWrKVw/8y6BzdEAiRAAiRAAiRAAiRAAiRAAiSQDwlQuM+HJ52HTAIkQAIkkHMIZCfaq0K0Itrb2NigUMFCaP51U8wbNxtHN7ki6NAFBB++pLeLCD4sTd2XpfG+5ePqvuVzHvR68/Yu7D2Ng8sdYN9vJKqWq4zKFSuxYG3O6UbcExIgARIgARIgARIgARIgARIggTxGgMJ9HjuhPBwSIAESIIHcQyA70V4Vol27di2s2lnhyy8Kom7VOlg6bQl8dptwxdUfV90DXkoLcr4I711HMbLvj6hUtiLKlC6DPn36ZBWslX2XbH6V00/Xfe7pi9xTEiABEiABEiABEiABEiABEiCBnEWAwn3OOh/cGxIgARIggXxCIDvRXgrR3r59W4vHadmiJUoWK4Gm9Rtj2YwlOL3/BK54BuC6KRjXTZdfSgsxBeOqVyA8trtg/JAxqF21FkoUL4HevXtrBWvDw8PxoIK1+eS08jBJgARIgARIgARIgARIgARIgARI4JkQoHD/TDByIyRAAiRAAiTw+AREtFeudHGop6WlQeJxpBDt8uXL0bx5c5QvUw7fNW+LJTMWwdfpJK6dCMbNk9dw69RLbiev4cqxADhvOYQpIyeiYZ0GKF6sOPr17Yd9+/YhLCxMOx5L570aqHh8SnwmCZAACZAACZAACZAACZAACZAACeRfAhTu8++555GTAAmQAAm8BAJKwBbhXon2CQkJkEK0K1euRIsWLVC6ZGlYt7LC4l8X4ozzSYT6XkfYuZsW7QbCzkmzXC/3jesf93nG7Rhfb7nevL2r3kFw2eGEn+0noUbl6qhYvgIG6QVr6bx/CR2Lb0kCJEACJEACJEACJEACJEACJJCnCFC4z1OnkwdDAiRAAiSQkwlkJ9pbFqL9qtBXaN2sFZbO+QPn3E8j3O8W7vjfzpHtuu8VeO1zx0+jJmrifdXKVTBw4EAcPHgQERERYOZ9Tu6N3DcSIAESIAESIAESIAESIAESIIGcTIDCfU4+O9w3EiABEiCBPEMgO9HeWIjW2toaRQoXwTf1G2Ldn2vgd+IiIoPDEH0lAlFXIhB95c49zbzOuF5uG5t6vnnd/c+Xx+++/t73uLve/L5qH9T2zduW14QF3MIF01mMHzkWNapUR9kyZdGzZ094eHhAnPdG8V4xyDMnlQdCAiRAAiRAAiRAAiRAAiRAAiRAAs+JAIX75wSWmyUBEiABEiABRUAJ1ioeRyJypBBtaGgo1qxZo8XjlCxREq2at8Lm1RsR7BuAqGsRiL0Zhbib0Tm6yT5GhUTg3LEz+Hn8FNSpWRvFihVDr1694OrqqmXep6SkaLFAcvyKhSz5RwIkQAIkQAIkQAIkQAIkQAIkQAIkkD0BCvfZc+FaEiABEiABEnhmBESkNor2Eo8THByMFStWoGXLlqhQvgJs2llj1dJVuHIxGNG3IpEQHoeEiLst8TFvZ/c8WZfderV99ZhaPu56eZ7adtSNOzjubsKMn6fj228aoUSJEujfv79WsPb27dtITU2leP/MehQ3RAIkQAIkQAIkQAIkQAIkQAIkkNcJULjP62eYx0cCJEACJPBSCSiHuRLuxWkvhWiVaF+mTBl07NARq5atRODFACRGJSA5JhHJMUl6s7yt7stS3ZbnWt5W99XScnuy3viYuq3WG+8bX2tcr26b3z8q9A68jx7HrF9noV6deqhUqVJWwVrJvE9LS9MGMBQTuu5fatfkm5MACZAACZAACZAACZAACZAACeRgAhTuc/DJ4a6RAAmQAAnkbgJKoBbRXgn3t27dwsaNG9GuXTt8/vnnaNOmDdatWYerwVeQHJ+MtKTUHNBSnnIfUhAbFQPf076YMW0GqlatiooVK2Lw4MFa5r0I9xITJCwUm9x9hrn3JEACJEACJEACJEACJEACJEACJPB8CFC4fz5cuVUSIAESIAESyBKnlWgvwvWpU6cwfPhwFCxYUMuCX7Z0Ga5evoK0lDRkpGcgU29y2/J+ZnrmAx+X1xmff/e++TV3t3fvfeNrjLctX6/uZ/8c837LY+lp6YiPjcfFCxe1qJzixYujcuXKmDZt2j1xORTv+QEhARIgARIgARIgARIgARIgARIggQcToHD/YDZ8hARIgARIgAT+EgHlKlfCveS8+/r6YuzYsZpoX6RIEcybOw/+l/yRkpSCjLQMZKRKSzff1u6nG+7r6+U5aXLb8Dx1O+v16rnyenm+auq+er1+P+s99fdT92X50Nffu8/pqemIiYqBj7cPenTvoR1nrVq1MHfuXCQnJ2txOXTd/6VuxReTAAmQAAmQAAmQAAmQAAmQAAnkAwIU7vPBSeYhkgAJkAAJvBwClsJ9SkoKQkNDsWfPHvTp0wci3Ddq1Ahzf5sL31NnkBATj7TEVKQmpiBNb3Jb3TcvU7OeY3lfXmN8/oPuq/d42OvNj6n3vv89U/X9VO8ny5SEZESEhsPD1QMjfhyhFd2tV68eJkyYgOPHj2vCfXZFal/O2eG7kgAJkAAJkAAJkAAJkAAJkAAJkEDOJUDhPueeG+4ZCZAACZBALidgFO4lJkeE+/j4eAQHB2Pbtm3o3r07ypUrh2ZNmmHmtF9x+vhJxN+JQ5IUqI1O1FqSvlT31VLWP+yxJ32eer4sH2e76nlqP2R5+1ooDu87BLvhdqhYviLq1K6DcePGwdnZGVKcVhz3FO5zeafm7pMACZAACZAACZAACZAACZAACbwQAhTuXwhmvgkJkAAJkEB+JGAp3ItwnZSUhNjYWFy+fBm7du1Cx44dNfH+228aYda0mbhw8jzuhIQj/nYMEsJic0WLvx2LsCuhOLzXCSOHjUCVylVQrmw5LRLIxcVFm2WQkJCgHbsMXsggBjPu8+MngsdMAiRAAiRAAiRAAiRAAiRAAiTwuAQo3D8uKT6PBEiABEiABJ6QgKVwL6K1CPfiuo+OjsaNGzewY8cOtG/fHiVKlEDdWnWxYNZ8nDWdQXhwKGKuRyL2elSObtEhd7R99TzojiH9f0D5cuVRpkwZrQCvp6cnbt68qQ1UKOFeHPcU7p+wI/HpJEACJEACJEACJEACJEACJEAC+Y4Ahft8d8p5wCRAAiRAAi+KwMOE+5iYGNy5cwdBQUHYsmWLFptTtEhRVCxbAXN++Q2nXE4g3P8Woi6HG1oEoi5LM66T25br1X3jMrvnqe1YPk+tf/hrIoPDcf38VXjud0e/7n1RrnRZVKpUCUOHDoWXlxdCQkIQGRmJuLg4JCYmMirnRXU8vg8JkAAJkAAJkAAJkAAJkAAJkECuJ0DhPtefQh4ACZAACZBATiVgFO7T09O1jHuJyxH3ucTliKh9+/ZtXLhwAevWrUO3rl3xVaGvUK9WPUyf8AtM+z0Qev46IvxCc1wLv3QLwd7+2L/JEQN79UfZUmVQo0YNjBgxAocOHcK1a9cQHh6uzSygcJ9Teyj3iwRIgARIgARIgARIgARIgARIIKcSoHCfU88M94sESIAESCDXE7AU7iUmRoR7cZ+LmC1xOeK6v3XrFs6cOYPVq1fD1tYWpUqWQuMG32Lq6Cnw2O2CG6euINT3Om6fzTktwOsidq/ajqH9hmiiffXq1bV4HAcHB1y5cgVhYWHawITMLFAxOSrfXgYxmHGf67s3D4AESIAESIAESIAESIAESIAESOA5EqBw/xzhctMkQAIkQAL5m4ClcC/Z7sacexG1o6KiNGe65N37+vpqznsbGxuUK1sWDes0wJSRP+HYbndcPuqPG95XcNPn6ktuVxDocRG7lm/DkF6DUKVCZZQtW1Zz2u/duxeBgYHaLIKIiAjt2Ixuezl2JdpTuM/fnw0ePQmQAAmQAAmQAAmQAAmQAAmQwMMJULh/OB8+SgIkQAIkQAJPTUAJ97IUoVqEe0vXvYj3EpkjDnUR70X43rRpE6ytrSGZ99UrVMP0UT/DtNMdwW6XEHI0CNePBuO6tlS35f6D2sOeY3zsQbfN25X3veYVhGB3PxxY44DvO/VBmRKlUbpUafz44484cuSItu8ye0AicuSYJA5ICvFKQV4R7eXYLYX7p4bLF5IACZAACZAACZAACZAACZAACZBAHiZA4T4Pn1weGgmQAAmQwMslYCnci2itXPcq694YmSN59yLeq8z7Lp27oMhXRVC+ZDlMHzkVbhucEHjkPK64+b/wdtnVDxcPnoHT6n3oYdUVpYuVQqWKlTBkyBC4uLhoov3NmzfvichRbnsl2suxG532wod/JEACJEACJEACJEACJEACJEACJEAC9xOgcH8/E64hARIgARIggWdG4GHivTjRVaFaicyReBkR70NCQrIy77t166YVrK1VqSZ+GjwOTiv3wu/AWQQdupBNu4igQ9Ie9Fh26x+9LvDQBZzedRxb529AL+vummhfvVp1zWm/b98+BAUFQYn2ktkv2f1KtJcBCnHai2iv3PaKyTODzA2RAAmQAAmQAAmQAAmQAAmQAAmQQB4jQOE+j51QHg4JkAAJkEDOI6CEalmK49zovH+QeH/9+nWcOnUqq2BtiWIl0LBmA0wYMAYH/tiDC3tOwd/RF/6OZ59r83P0hc8WL2yYuQr9O/RFicLFUbVKVU203717d1Y8jkT9ZCfai9s+O9FeWPCPBEiABEiABEiABEiABEiABEiABEggewIU7rPnwrUkQAIkQAIk8MwIGIX7JxXvz5w5g7Vr12qZ92VLl0X9qvUwtq89Di5xwJktx3Bxxylc2nn6uTTZts8GT6yfthL9bfqgUumKKFOmDIYNGwZHR0cEBARAMu0fV7Q3xuQ8M7jcEAmQAAmQAAmQAAmQAAmQAAmQAAnkQQIU7vPgSeUhkQAJkAAJ5EwCRgFfOe8lRkZc6Q9z3vv7+2PDhg2wsbFBsSLFUKlkRYzrbY+DC3fj1PqjOLfZG+e15oPzW6R5m5usU7dlvXqe5W15jvGxLT44u/mEtu1tM9ahZ+uuKFO0FMqWKYvhw4fDycnpqUX7nHlmuFckQAIkQAIkQAIkQAIkQAIkQAIkkLMIULjPWeeDe0MCJEACJJDHCSjxXoR7o3gvWfDZifehoaGQ2JyLFy9i/fr16NypMwp9UQhlviqF8b3s4fjbNvis9oTvumPPrq09huPLXbFjxiZ0amyLEl8WQ+WKlbR4HFdXV020lyK6dNrn8c7KwyMBEiABEiABEiABEiABEiABEnhpBCjcvzT0fGMSIAESIIH8SuBB4v2jnPenT5/WMu+7d++Orwp+heplqsK+y3Ds+GUDTix1xakVnobmhVMrpBnXyW21Xj1mvO+Fk8s94f77Qawa+we6NOmAUl+VQPUq1bR4HFWIlqJ9fu25PG4SIAESIAESIAESIAESIAESIIEXRYDC/YsizfchARIgARIgAQMBlXVvdN5LEdeHifchISFawVrJvG/fvj1KFC2BehVqY2SHodg2eR2OLXLGiSWu8F7i9lTtxBI3OM/Ziz9HLECPZl1Q7IuiqFKpihaPI4VomWlvOIG8SQIkQAIkQAIkQAIkQAIkQAIkQALPkQCF++cIl5smARIgARIggQcRsHTdq9icR4n3Epvj6+urFay1srJCqeKlUKdsTdjZDMWOievg/tt+mOYfwbEFqjnj2ALVZJ26Lcu79+U1zjMd8eew+ejRpDPKFS2D0qVKY8iQIdi7dy+CgoJYiPZBJ5PrSYAESIAESIAESIAESIAESIAESOAZE6Bw/4yBcnMkQAIkQAIk8CQElICvHPjp6el4HPHez89PE+9trG1QvHAxVCxcDiOsBmPb2DVwmeEIr1kH4TXrUFY7+pDbnrMOwmW6I1YO+x1dGtiidKGSKFO6DIYOHYrDhw8jMDCQov2TnFQ+lwRIgARIgARIgARIgARIgARIgAT+IgEK938RIF9OAiRAAiRAAn+VQHbifWpqKh6nYO2G9Ru0grVfFiiIYp8WwY9tBmLjiOVwmeoA92n7HqsdnrwLa4YuQbuarVHk08KoXLEyRowYAVWI9ubNmyxE+1dPMl9PAiRAAiRAAiRAAiRAAiRAAiRAAk9AgML9E8DiU0mABEiABEjgeRFQ4r0x8/5h4v3t27chsTlnzpzRCtZ269oNBQsUROWiFTG0ZX+s+WEJnCbshMskB73tMdw2r3OetAd7x2zG4r6zYVurLYoVKILqVapj+I/DIYVoxWnPQrTP64xzuyRAAiRAAiRAAiRAAiRAAiRAAiTwYAIU7h/Mho+QAAmQAAmQwAsloOJyLMX7xylYu2bNGnTo0EErWFurZHUMatIHq/r/jkOjt+Pw2J33NaexO7F7xHrM6ToVHWtboehnhVG5QiVNtJdCtP7+/qDT/oWefr4ZCZAACZAACZAACZAACZAACZAACWQRoHCfhYI3SIAESIAESODlE8jOef+ozPuQkBCtYO2GDRtgbW2NkkVLoHrRKhj8bV+s7bcYjsM24OCIrTg0cpvW5PauIWsxp9NUdKjRDiW/KJ5ViNbBwQEBAQHMtH/5XYF7QAIkQAIkQAIkQAIkQAIkQAIkkI8JULjPxyefh04CJEACJJBzCRgF/MctWCsu+bVr18LKygpFCxVBuc9L44dv+mBlzwXYPWgd9g3ZhL1DNmLXoLWY33EabKq0RokCRVGqZCn88MMPOHLkCIKCgija59xuwT0jARIgARIgARIgARIgARIgARLIJwQo3OeTE83DJAESIAESyH0ELMX7R2XeSx79hQsXNPG+c6fOKPR5IRT5sBD61+2OPzvOxq5+a7C9zwosbD8drcs1QZGPCmUVonVxcdEy7Z8mHif3keUekwAJkAAJkAAJkAAJkAAJkAAJkEDOJkDhPmefH+4dCZAACZBALiKQlpGCa5F+WH1iGn5zGYKZhwc8UZvrOgwbfGYjNPYq0jJStSM3c84kPAAAIABJREFU5t6L8/5R4r0UrPX19YVk3kvB2i8++RzlPy+NvjW7YnabSZjechxal2mKwh8VQo2q1TFyxAjs37//qUV72T/+kQAJkAAJkAAJkAAJkAAJkAAJkAAJPFsCFO6fLU9ujQRIgARIIB8TiE2OhNflvRi87f+zdx7QVVTr21/f/d/r1VvtV712RXpRqlgQ67VgV0AEFEQQUKkWpFcBKdJ7CZ1QAkkIhAAJnRBKICShhSTUUFJoYn2+9eycfdjZmXNyEgJp71lr1szue/9mnzlznnnn3c+j8YzK+GB6+VxtTWc+io4Br2LH4Qic/zlDkTSFey5aq8V7bwvW0vJ+586dyvK+0QeNUK5UWdR6qBper/ASXiv/ghLt1UK0nTohMDBQfNqX4DkrQxcCQkAICAEhIASEgBAQAkJACAiBwklAhPvCeV6kV0JACAgBIVAECZw6fwwhsTPQbHZ1tJjzOFrNe0ptzWfXxId+lfDJnFpe41jm07lPIHz/QqRdPOkm4CTee1qw9syZMzh58iRoeR8TE4P58+ejQf0GqFi6Au659b+4/z/3qoVoO3bsiODgYLdof+rUKbBseno6zp07h4sXL+LSpUvgAwK2xQcGfHDAjf0RS3v36ZEDISAEhIAQEAJCQAgIASEgBISAEBAC+U5AhPt8RyoVCgEhIASEQEklQOF+eewMfDr3cfRZ/hFGRHQC3d/0WNYIzWZVR5/lTbPF9TbieoZ8iM/mP4Xw/YuyCfe+ivcU3rV4f/z4cSQkJGDu3Llo2LAhypYtiypVqqiFaNetW4fExESkpKSAon1qaqqI9iV14sq4hYAQEAJCQAgIASEgBISAEBACQqDQERDhvtCdEumQEBACQkAIFFUCFO5XxM1EG/+6CI2bjSPpB5GUuhdLd0/yOa6t/7OI2L84i3BPHtrKXVu9a7c5Tpb3FO8pxJ8+fRonTpxQVvUBAQEYNmwYRo4ciU2bNiEpKUlZ5jMP82ZkZIilfVGdeNJvISAEhIAQEAJCQAgIASEgBISAECh2BES4L3anVAYkBISAEBACBUVAWdzHzcRn8+tg1tZBWHdwKSIOLMaUzX3Qct5TmJlD3NTNfdDG/5lsFvfmeLSAry3w6cLGFu/p6oZCfFpamtv6/uDBg8p1zp49e5QbHdPK/uzZsyLam5DlWAgIASEgBISAEBACQkAICAEhIASEQAETEOG+gE+ANC8EhIAQEALFh4B2ldNiTi10CXwX/UKbo++Kj/HVkjfw0cyq+DbwHYe4t91x3yx9S/nAt13l2IS0eK+t723xnv7pz58/DwrytL6ngM+NlvXceMx4bWXPvOLT3qYsYSEgBISAEBACQkAICAEhIASEgBAQAgVHQIT7gmMvLQsBISAEhEAxI6CFey5CS+F+QOgn6B/aHF8teRNNZz6mhPtscUvfceejcN9y3pNeLe41Mm1x7yTec1FZCvEXLlxQlvQU8O2NVvkU7Jnnp59+UovQykK0mq7shYAQEAJCQAgIASEgBISAEBACQkAIFCwBEe4Llr+0LgSEgBAQAsWIQKaP+1kw/dRfSVxOaDyJ97/88gso3lOQ1wI+BXpzYzzTmY+CPcvQ5Q6t9/XDAG3Zn1M/JF0ICAEhIASEgBAQAkJACAgBISAEhIAQyF8CItznL0+pTQgIASEgBEowgSsR6Z3K5oRSC+t6by5YSyGegjyFeS3iU6jXYr2OF9E+J8qSLgSEgBAQAkJACAgBISAEhIAQEAJC4NoTEOH+2jOXFoWAEBACQqCYEqD4vjx2Bq6FqxwToRbuudfW8trvPQV8LeJTpNebtrDXVvba0l7XZdYvx0JACAgBISAEhIAQEAJCQAgIASEgBITAtSUgwv215S2tCQEhIASEQDEmoIX7q704rRNCLbjb4j0FeS3iU6Q3hXqdRrHfLM9j+QgBISAEhIAQEAJCQAgIASEgBISAEBACBUdAhPuCYy8tCwEhIASEQDEjoIT7uJn4bH4dzNo6COsOLkXEgcWYsrkPWs57CjNziJu6uQ/a+D/j0+K0Tuhs8V1b3/uyN8s61S1xQkAICAEhIASEgBAQAkJACAgBISAEhMC1IyDC/bVjLS0JASEgBIRAMSdg+qkPjZuNI+kHkZS6F0t3T0Ib/7rwJc5c2DYvuEwBPrfHeWlPyggBISAEhIAQEAJCQAgIASEgBISAEBAC+U9AhPv8Zyo1CgEhIASEQAklcPr8cYTGz0bLuU+gz/KPMCKiE36M6IAeyxqh2azq6LO8aba43kZcr5DGaD2/DtYeWIL0i6eumKKvwv0VNyQVCAEhIASEgBAQAkJACAgBISAEhIAQEAL5SkCE+3zFKZUJASEgBIRASSZw6deL2HdyB8au/xaDV7V2b/1XfqLE+wErW3iN+2F1W0zc2B1JqfH4+befSjJKGbsQEAJCQAgIASEgBISAEBACQkAICIESTUCE+xJ9+mXwQkAICAEhkJ8E/vjjd5y7lI49JyKxOXEFNiQE52rbkrQScSlRuPjLObVYbH72TeoSAkJACAgBISAEhIAQEAJCQAgIASEgBIoOARHui865kp4KASEgBITANSLw22+/IT09HVu3bkVoaCjCw8Oxd+9e/Prrr0pQ//nnn3H+/Hm15bZLrINbXj8//fQTzpw5g5SUlDzV88svv+D06dPgnq50zA/DTEtNTTWj8+X47Nmz2LJli2LG8ZMfGbPNkydPqjAX0c3rJyMjA8eOHctrcSknBISAEBACQkAICAEhIASEgBAQAkKgUBEQ4b5QnQ7pjBAQAkJACBQGAhSUw8LC8NFHH6Fy5cp45pln0L9/fyQkJCjB+8SJE4iNjcX+/ftz3d2jR4+C5fP6oWC/efNmrF69Ok8PDijKL1++XAn0fEBhfijmc9wbNmwwo/PlmA8+mjZtqhiyD+S3bds2sA9LlixRYbaflw/F/+3bt2POnDl5KS5lhIAQEAJCQAgIASEgBISAEBACQkAIFDoCItwXulMiHRICQkAICIGCJrBz504899xz2LRpE44cOaIE+nnz5ikB/9ChQ8pyfMWKFYiPj891V/v27YsRI0bkupwuQKGbFv+XLl3KZjGv83jbHzx4EJ06dUJSUpISzXVeit/nzp1T4ndwcLCOzrc9rez5pgD3ZLh27Vr1gIBiPfuzcuVK9VAkLw3SUp997tq1a16KSxkhIASEgBAQAkJACAgBISAEhIAQEAKFjoAI94XulEiHhIAQEAJCoKAJ0EXOY489pizCKZBTXKYbljVr1ij3LhMnTsSXX36JcePGgS5gKMZTNB4yZAgo8O/evRtdunRRVvrdu3dHt27dsG/fPqxatQrvvPMOmjRpgo0bN+LChQvo3bs3+vXr597HxcUpUT4qKgqjRo3CV199peofNGiQcttDS/WYmBgw/dSpU6oPbIvpLVq0UO1Q2Gdfv/76awwfPhydO3fG/PnzceDAAfUwom7duhgwYICyctfuaSioz507V9XBNFrI79mzB+w/w9xz0xb/bJ9MtFshsuADD1rzt2nTRrHo2LEjJk2apNrhgwKOlW8ckBHTWC/79Prrr+OLL75ARESEeqCgmbC9wYMHqzr5YIGW+iNHjlTjYnzr1q1BXrS279mzJ1599VX4+/urc1TQc0jaFwJCQAgIASEgBISAEBACQkAICAEhcCUERLi/EnpSVggIASEgBIolgcTERPTq1QujR4/GsGHD1J6CNIV2ivh0ydKnTx8lhlO4f+ONN/DNN98o0ZiW47TUp7hPIXzChAlKeKdwTrG+cePGSnCOjIzEunXrVD0Ut2fNmqVEalqf08p//PjxSvyfPHkyZs6cibZt22Lq1KlYv369slanhTkFa4rcFLjZFh8AUHDnQwKGOYaAgADVFz5YYBzd09SrVw/Tpk1TIrkW7inA88ECxX6K47TMN8dBFmyHLnroq57lOVa6FeKe42SfGP/tt99i0aJFql1ymT17NqKjo1W77FtISAgGDhyoHjpwrPXr11cc2B7rpiDPcc+YMUONr0ePHor92LFj1RjZFsV/PjDx8/NTaxAMHTpU1UOm9J8vHyEgBISAEBACQkAICAEhIASEgBAQAkWZgAj3RfnsSd+FgBAQAkIg3wnQspsLwNISnNbqrVq1UkLy999/r4T5tLQ0JZ4vW7ZMWXsz75tvvqmEaor6FPdpEc8FbelOZ/HixZgyZYoS5bnwK4VxWponJycr4ZmW4xSh+WDgxx9/xAMPPIAdO3YoC3IK6PywXh5T/DeFe4r/06dPVwL50qVL1QMF+uGnz3jWy4cO7AOFcorjtEqnX35axNNdDcV6/eG4+RCCDwkCAwPVOHbt2qWEevaN4jv7QEGdVvPkQSGdAj+t5/kQYeHChaoPHL/+cG2AH374QS30ywcGFO658Y0AjoVvB/ChBNugVT4F/08++USNlX3nw4JGjRrh+PHjylUR3y4ICgpSG4V9WurT7Q7HzLcT5CMEhIAQEAJCQAgIASEgBISAEBACQqA4EBDhvjicRRmDEBACQkAI5BsBitm02KZQTPcx/FA4pzX6XXfdpSzHKRSbwv3777+vhGSWpXBPlzHvvvuuWtiWLndokU8h3RTuaRlPlzkVK1ZEuXLlUKlSJZQvX15tdENDwZuW5fywXgrboaGhbuGe7dN1DEV5Ct2lS5dGmTJllNBOFzt0G/Pwww+retkG0/mWQG6Eez5A4NiqVKmi+sk6KdyzXboFopDPtwjq1KmjFp1dsGCBeghBFz76Q3/+7A8XvM1JuKfbG3IiZ82kbNmy6sEIHzRUrVpVPdjgePTG/tHFjgj3mrjshYAQEAJCQAgIASEgBISAEBACQqA4EBDhvjicRRmDEBACQkAI5BsBCu902fLpp58qy3JWTGt0+r2vVq2a8l9PodiTcE+XMC+99BJoDU8f8HRNQyt2W7in1TpFbbqWobU6HxRQ8KeVP93H0LKclur88MEBRXdamJsW9xTN+QDg8OHDSjinGxu2Q7c2dL9DS37Wy37Qkp1W7r4K9xTta9eurd4cYP0U3vkgQQv3TKc/+TFjxqi+njhxQgnodPlDdzX6Q4t5vmGgXfR4s7gnEz6IoAU+rf3Zd46JbxXwYQEfHLA9vlVARlwcmG8a0OpfhHtNXPZCQAgIASEgBISAEBACQkAICAEhUBwIiHBfHM6ijEEICAEhIATyjQCt22n53a5dO2Vt/vbbb4Mb3bXQ1QzFZIrKdEPDRWdpXU7rerpvYVmKyfRj37RpU3z22WfKNQ7Fa25c2JVuarhALV3oMG/Lli2VUM3Fbun2he5wKFLTep1hWuWzHrq6oT93PkDQFv8U7dmnjz/+WLmree2115RYz0Vl+bDggw8+UP7mmzdvriz4+UCClut0KcMFazdv3ux+q4AAL168qPpL1zf0jU9r9o8++kj1r3379qoMHwxwzOfOnVNCPt0E8WECH3icOXNGPYjg+NgGmdFnP13ecMFebXHPBwF8CEDGFPyZ5/PPP1cPAvhAgOU4Zvq6555t8uEFx92hQwc1Xvaf54X+9dkuHxi8+OKLStjnmw3yEQJCQAgIASEgBISAEBACQkAICAEhUJQJiHBflM+e9F0ICAEhIASuCgEuuErXOLR4p6U7N1qxU1SmT3sKw7Rep8U5/cLTsp0iOi3zKbrTGp/56SKGAjpF/bCwMOWChxbitFqnAE//7kyndfy4ceNUPB8asA2m0zc++0DL/BYtWihRn773uXguLdczMjKUwE/f+KyTC74y/dKlS8qlD+vkgra04mefKJjrsdF6nw8O+LBBf3jM/nFcfDjBxWZZB33Z86EBxXy+baAXf6XwTwGedep6+PYA+8v+DBo0SLn44cOOkydPKj/5FNkp+tOCn2I71wyg+E4f+lyYlg8FuPgvF+clPzKg1T0/FO/55oAeLy35aW3P8fLcsK9kzXMiHyEgBISAEBACQkAICAEhIASEgBAQAkWZgAj3RfnsSd+FgBAQAkKgWBLgAwA+GKBVPq3k6XqGFvkU0inWy0cICAEhIASEgBAQAkJACAgBISAEhIAQKN4ERLgv3udXRicEhIAQEAJFlMDEiROVu52GDRsqNzl0xxMeHq6s+ovokKTbQkAICAEhIASEgBAQAkJACAgBISAEhICPBES49xGUZBMCQkAICAEhcC0J0B0N3crQLY/e6BJGPkJACAgBISAEhIAQEAJCQAgIASEgBIRA8Scgwn3xP8cyQiEgBISAEBACQkAICAEhIASEgBAQAkJACAgBISAEhIAQKEIERLgvQidLuioEhIAQEAJCQAgIASEgBISAEBACQkAICAEhIASEgBAQAsWfgAj3xf8cywiFgBAQAkJACAgBISAEhIAQEAJCQAgIASEgBISAEBACQqAIERDhvgidLOmqEBACQkAICAEhIASEgBAQAkJACAgBISAEhIAQEAJCQAgUfwIi3Bf/cywjFAJCQAgIASEgBISAEBACQkAICAEhIASEgBAQAkJACAiBIkRAhPsidLKkq0JACAgBISAEhIAQEAJCQAgIASEgBISAEBACQkAICAEhUPwJiHBf/M+xjFAICAEhIASEgBAQAkJACAgBISAEhIAQEAJCQAgIASEgBIoQARHui9DJkq4KASEgBISAEBACQkAICAEhIASEgBAQAkJACAgBISAEhEDxJyDCffE/xzJCISAEhIAQEAJCQAgIASEgBISAEBACQkAICAEhIASEgBAoQgREuC9CJ0u6KgSEgBAQAkJACAgBISAEhIAQEAJCQAgIASEgBISAEBACxZ+ACPfF/xzLCIWAEBACQkAICAEhIASEgBAQAkJACAgBISAEhIAQEAJCoAgREOG+CJ0s6aoQEAJCQAgIASEgBISAEBACQkAICAEhIASEgBAQAkJACBR/AiLcF/9zLCMUAkJACAgBISAEhIAQEAJCQAgIASEgBISAEBACQkAICIEiRECE+yJ0sqSrQkAICAEhIASEgBAQAkJACAgBISAEhIAQEAJCQAgIASFQ/AmIcF/8z7GMUAgIASEgBISAEBACQkAICAEhIASEgBAQAkJACAgBISAEihABEe6L0MmSrgoBISAEhIAQEAJCQAgIASEgBISAEBACQkAICAEhIASEQPEnIMJ98T/HMkIhIASEgBAQAkJACAgBISAEhIAQEAJCQAgUKwJ//PEHZBMG9hwoVpNcBlPiCYhwX+KngAAQAkJACAgBISAEhIAQEAJCQAgIASEgBIRA0SFgi7USFgHfnANFZyZLT4WAdwIi3HvnI6lCQAgIASEgBISAEBACQkAICAEhIASEgBAQAoWAgCnO2se///47ZCt5DOx5YIYLwZSVLgiBKyIgwv0V4ZPCQkAICAEhIASEgBAQAkJACAgBISAEhIAQEAJXk4ApxupjU6T/7bffIFvJZWDOBT0/zP3VnJtStxC4mgREuL+adKVuISAEhIAQEAJCQAgIASEgBISAEBACQkAICIE8ETDF119++QUpKSkICAjA6NGjMWzYMPc2dOhQyFZyGZhzgXNjyZIlSE5Oxq+//upeByFPE1AKCYECJiDCfQGfAGleCAgBISAEhIAQEAJCQAgIASEgBISAEBACQiA7AS3c06L64sWLiI6ORrNmzVCrVg1Uq1YZ1avLJgwuzwHOiZo1q+OTTz5BREQELl26pNwn6XmUfYZJjBAo3AREuC/c50d6JwSEgBAQAkJACAgBISAEhIAQEAJCQAgIgRJHQIutFO3pBufs2bNKjK1WrRruv+f/8HTt/4fX//cn2YSBew7UffL/4d67/4SaNWvC398fFy5cUHOHc0jPpxL3RZIBF2kCItwX6dMnnRcCQkAICAEhIASEgBAQAkJACAgBISAEhEDxI0ChVYv2FO4zMjKwatUqVK5cGQ3e/hNWLvozUvb+RTZh4J4D60P+jPff/BOqVq2KOXPm4Ny5c8pdDueRFu+L3zdFRlScCYhwX5zProxNCAgBISAEhIAQEAJCQAgIASEgBISAEBACRYyAto7Wwj19laenpyMsLEwJ9x81/D9Ehl2H309dj99P/zVzO/VXV9iMux6/Mz5LHjPMdCP/aR4bYaaZ6aoNs7xuU8e58mdp0+iDu486P/dObRrp2dq0+uRY3hwD+2jXZ6SzvBqnmcepz1aZbJzM8nabDn0227S5uMN2m7oN5z7HbLwOH77/f0q4nz17tnpLg3NHC/ci3hexC4F0FyLcyyQQAkJACFxjAvomlHv5CIGrRUDm2dUiK/UKASEgBISAEBACQkAIXG0C+l6WQiuFVy5Mm5aWhpUrVyrh/uMP/oyo1dcDqTcAZ27I3PPYHb7eincIZ8lv1ZEtjeVd7ZltuI9zKs90u7xdxqGPemx6n61fdh0mD7Znt+kKm/WZx9nGY5e323Pos27TW70e07z0WY/dqY+u+mI3X4/G9bMK95w7pngv/8Ov9rdX6s9PAiLc5ydNqUsICAEhYBDQN5tXsjeqk0Mh4EjgSuaXLutYsUQKASEgBISAEBACQkAICIECIKDvUbmnixyKrj///DPOnDmD0NBQVKpUCZnCPUXkv8smDNxzIHbzDWhc/8/K4n7WrFnqLQ3OHc4hziVtcc+5JR8hUBQIiHBfFM6S9FEICIEiR8C82bzS4yI3eOnwNSNwpXPLLH/NOi0NCQEhIASEgBAQAkJACAgBDwTM+1PT2v7SpUs4ffo0VqxY4RLu/4Ko1X8DUv8JpP7LtfFYb4zTx0557HQzr9Ox3YYd9rWMzudU3u6TnccO67o87e38dpjlGGeWt/PY6WZeX8vnpg67fU9tmP24XCZ289/RuP5f8Nhjj2HmzJnqLQ3OHVrdi3Dv4Usn0YWagAj3hfr0SOeEgBAoCgTMm0vzmDeavDngxhsFbnzaz403D3rTcfoVPn1DYVoDmPUWBSbSx/wnYM4B81jPM/0KsZ5Pen7pvY6355lZl3mc/yOQGoWAEBACQkAICAEhIASEgHcC5v2oFu55H/vTTz/h1KlTCAkJcQn31yFqNcXbf8smDNxzIHbzP9G4/nVKuPfz81NvaXDucA5pq3s9x7zPREkVAoWDgAj3heM8SC+EgBAoggT0D765582lvsG8cOGCesKfkpKCI0eO4NChQ9i3bx9iY2MRHR2NnTt3IiYmBvHx8Thw4ACSkpJw/PhxZUly9uxZdXOh6zPb0MdFEJl0OQ8E9Pk293peUIQ/f/68uiE9ceIEDh8+jISEBOzduxd79uxxzzMeM45pzMO8fNWYZVmHrs9sQx/noctSRAgIASEgBISAEBACQkAI5ImAvgflXv+voiHKxYsXcfLkSSxbtgwVK1bEx43+iqg1/wLSbgZSbwLS9MbwzZlhxutjput8Kl6HXeXdaXZ51mvW52pH51f1Gn1ge2oz8xltqHJmflcfdT9V31ztOfVZjdNuwxXW+c02VH1mX/Sx2Qe2Z7fpSneXN/M79VnXq7m69qovTHP1UYfVeG2udpt2XVYfFAuj3bSbEbv5X27hfvr06eq/NeeOCPd5+jpKoUJAQIT7QnASpAtCQAgULQLmzaQ+ppU8n+TzZpJCfEREBObNm4cRI0agb9+++Prrr9G6dWs0adIEb7/9Nl588UU899xzeO2119CwYUO0aNECHTp0QI8ePTB48GBMnjwZwcHB2LFjB5KTk0EhnxYCIrAWrbmS197qeWXuee45zyi2Hzt2DLt370ZYWBhmzJiBYcOGoVevXujUqRNatWqFRo0a4Y033sALL7yg5hmPGce0zp07o3fv3hg6dChohcIFvvgAiQ+NeFMrb3zk9axJOSEgBISAEBACQkAICIErJWDe//K+lEYmWrinQVRW4Z7W9rd43tKstJzCrMvMw2M77K09u/zVCDu1b/fRDjuVMePM/E59NvM6pee2vF0Hy5t1mMe6bTvOQzh2841oXP+vePTRRzFt2jQl3NOgjnOIc4lzSs+xK52rUl4IXAsChU64118g2f/hvpgIi6LP4lp8maWNq0fA/g5q8Zw/+ufOnUNiYiKioqIQFBSEMWPG4LvvvlMCPcX5GjVqKIuQUqVK4Z577sFtt92Gf/3rX7juuuvw5z//GX/7299w880346677sKDDz6IcuXKqZuMp59+Wgn8X375pRLy58yZox4G8KEALaW9WUlfPRJS89Uk4Gme8Vynp6ertzI2bdqEhQsXYvjw4UqAb9CgAZ599llUq1YN5cuXx0MPPYT//ve/uOWWW/CPf/zDPc94fOutt6o05mHeqlWrom7dumAdFPN//PFHVffGjRtx8OBB1aY3Ef9qsijOddvnWcJF/zdezqGcQ5kDxXsOFOffJBmbECiMBPQ1VRutaOGe4iuFexo3ZVrcX4+oNbTIvs3abr0cTrsNSHOF1THDrvx2mPXo/HYZ3YYuo8Puvd2GHbbadJcz2tRxug8M6/a41+n2Xue/Wn2223P3y+ZsjdGxzyaXW7OfG92WHrcO223qdN2GEY7dcjMa17/eLdzTvZIp3GtjOM4z+QiBokCgUAn3+gIt++J981tSz29RuCBIH7MTsOcrbyB580gLeLq+obXy6NGj0bFjR7zzzjtKQKUAT+GUgjxFVAqlZcqUQYUKFVClShVUr14djz/+OGrXro2aNWsq/3uVKlVSoj0F/vvuu08J/DfeeKMS9Hlj+vzzz6N58+YYMGCAEld37dqlfDzSckCLq2Zfs49EYgozAfPc8ZjnlK9zpqamIi4uDoGBgRgyZAjatm2r3tLgPLr33nvx73//WwnyfCj08MMPo2zZsuqPDC1M+NBIzzMeM45ziXmYl2U4R7mxLi7g9Morr6BNmzbqwQD/FNG9Dh8asC8yz/JnBtnnWsJyzyNzQOaAzIHCPQfy5+ovtQgBIeArAX1NdBLu6e7xsnB/A6LW0NXKf2QTBu45ELvlFjRuIMK9r983yVf4CRQK4V5fmGVfuG9a5fzk3/kp/JeFUfx2AAAgAElEQVQG6aE933njyKfzfFrPG8bIyEglbtarV0+J8rSk/+c//4m///3vSrSneE9XOJ999plyS0ILabq/mT9/vlpQad26daD19KpVq7B48WLlsoTW+t9//72yfuZDAIqst99+uxJnWS+FfAqsFPv5oIA3rXx4wIcIfJggwmrRm7fmPNN/TjjP6A6H6yJwftAFTp06dfDAAw8okZ3W85xrnHOPPPIIOAf5Zka/fv0wcuRI9UoorfJDQ0Oxfv16Nc9WrFiBBQsWqDTmYd527drh5ZdfzjJ/9RsgfNhENztsm3UcPXo0iz98s988lo9nAjYrCeffb6mwFJYyB2QOXOs54PlqLylCQAjkFwH9vdb3xqbFPf+H8S3nTIt7Cve02r4TSL0DSON2pyvMvRFW8XYeI5zqKpelvBWn6jPq9NamXZ/qo9UnO48KG/XnR5+z9dEYs1Of7DbtPvnSZ29t2uVVezaXHPpo98nqc+yW29C4wQ3KaGnq1KnKla1Y3OfXt1PqKQgCBSrc6wuyuefF2dwoRMkmDIraHDDnsD425zmP5VN4CdjnivNPWz9v3rxZ+RN/8803lcUy3d7Q6vk///mPcj9C//X0ab9kyRK1+Czd6NAfOX3f08UNrZcpytKXOK3leRNB4T0tLU1Z0PNmlIuH0iVOeHg4xo8fj5YtW6JWrVq4++67cdNNNykXKHfccQeefPJJJfJTwGcbrJOir9n/wktZemaeJ14neO54DjlXVq9ejZ49e6o3LehGiWK9fgODbnEaN26s5iHf+ODCs1wHgT7q+SoorfQzMjLUPOO6C3qeMY5prJ95WYa+7ZcvX66s+T/88EPwzY8777xTzWnOa74xQgGfQj/nI19P1tb3Zv/lbGYnYPLRx/r3QO+L2m+b9Ffux2QOyBwoCXNAX6P1Xl/DzX32q77ECAEhkF8E9HeN30Fecyjc855WG1BdFu7/hqg1twNp/5VNGLjnQOyW29G4wd+yCPf8/805xLnE/1ycW5xn8hECRYFAgQn3+mLMLw4t+WJjY5XIxYUY9bZ9+3bIJgyK8hzQc5niGIVVCl76R0J+KArvJVJfn3iueI2i4E4Ley40+/777yuXN9rCnpb1b731lrJMpjU952tCQoIqQxFW3xzwppP12effbEv/GebNBMVWCvq8PnL+0Hp61KhRahFbujThgwK642H7FFa7dOmi3PZQ9OdNiVNbhZd4yeyZee55beC5poU9RXJawtOaXrtcoqslCutcuJhuc6Kjo5XwzgdBPN+cM3r+OJ17sy2dj2VYlg+NkpKS1G8w6x40aJBaMJmunehGh31g+5znAwcOBB9e8QGBfT1jG/K5TIA8yJhvTvDhiv490Pui/NsmfZd7M5kDMgdKwhzg9Xrnzp1qjRk+/Hb6fb181ZcjISAE8ouAfd/K/1O8Z80u3P8dUeH/AdLvAdLuydyr47svhxmfdreR5sqn4nU55neV0fl1GR1Od9VhluMx28vWpl0f85j1G2Hdd9W+2YaXPqs27TZcYXd9Rhu+9tkeo2OfrT7anMy2svRF98fkwLrM+nQe13lRddnjcpVXdTuXj91yhwj3+fVllHoKBYECFe5588OboNmzZ6NDhw5qMUdaEcomDIrbHGjdurVyUUFxTAu4+oakUFwJpBOKgD4n+o8ZhUlazAcEBODzzz9XVu8U7Gn5TB/hL730khLMFy1apIQ5CqBX68ObVYryERERahHRZs2aKR/mtLynFX7p0qWVsDtu3Di1UC4FXT0OPa6r1TepN3cE9PnQ54cPafiGxfTp0/Hxxx+rV3/5JgcFc4rndJvUv39/0N3NgQMH1ILIuWvRt9zsF/8QcWHaZcuWqTbr16+v+sC+cO5zQdtWrVqp32363ufizByHHhP38oHiwWs9rXv8/PzQvn17uceR+zu5v5U5IHOgiM2BJk2aoGnTpujevTvWrl3r/s0zf/fkN08ICIH8J6DvK/ld4/2Ud+GeblXuM7Z7gTRPm6/5PJU3432ty1M+T/FmGzz2NZ9ZTpcx43JTly7PvV1HbsO6rpzK+Zovp3ruReyWu9C4wd/F4j7/v5pSYwERKBDhXl+IeRGm1R7dAZQrVw43/OV63PXP/+Chm+7Dwzffn7nd8gAe5nbrAyiltgdR6rbL2yO3P4hHbn8Ij/zH2O54GKX1dufDKM3trlIoo7f/lkKZ/z6Sud39CMpyu4db6czt3tIop7YyKHefa7u/DMrr7YGyKO/aKjxYDmp7qBwqqK08KjxcHhX1VqoCKurtkQqoxK00t4pqq1ymIjK3Sqhc1rWVq4Qq5SpnbuUro4raqqBKhSp4lFvFy9tjlR6Fe6v8KB6r/JjaqlZ5DGp7tCqqurZqj1VFtceqoVpVY6tWDdXVVl0tmMlFM91btequtGpqwU1VjuUfq4aqj12uV9Wv26vC9tkP1+bq36MVH83stx5DhSqucbnGp8dbzuDgZpPJSDNTDB+pgIrcFNvLvMk+8zy4zos+Pw9ePmfl7y+rzmW5+43ze28Zdc7L3uuaA2ouuObG3a65oubM5XlU+s5SmXOL80vPtzsexiN3uOYi5+XtD+LBW+/D3bfdhXfeelv5MqdIJ+J9AV3xvDSrr0v6BpGWshRJKbp98MEHyn0I/X/TdUjdunXVw8aZM2eqhUO1eOml+nxL4o0r3enwDyStr7WwSp/nFPDpC53X1DVr1ii3KMwvfzDzDf8VV2TPMz4c4hsVfJvj1VdfVWsaXH/99cqf/WuvvYZu3bqpB0d86MdrB8tfiw/fFuH6CXSjQ8GCfeHDKj5QuPXWW1V42LBh2Lp1q3oAb86xa9XHa8EhL23oc8xrCB/mfffdd+rtiRv+8Rfcfs8/cH/5m3B/+ZsdNk/xTnlzivNUlx1vh3W9nuJ1ut77mk/n97b3tS5f83lrK6c0X9vI73w59ctbenHui69j88YnpzRf2/A1X07t5Ue6r33xNZ8vffJUlx1vh3XdnuJ1ut77ks+XPKzPUz473g7fjPvK3YS7Hvo3ylUojV69eqrfa30Pb/7u5eW3QsoIASHgmYC+l9L/yzwL9/9AVPhdQNoDru1+II2bGdbH3NtpTvmd8ug6dH6dR4d1uqc2dLrOr8vr/HZY59fpOuxrebs+Xc6sRx97akOn67JOddp58jtst6nr595O0/18ALFb7kbjBv8Q4d7zV0xSihiBay7c8yLMC7C+CNMVBC3uX3n5FTxw6314t9xr+OqJ1uhapx26PdMe3eq2R/fnOqD7Cx3R48VO6PlSJ/T6X2f0erkzer/yNXq/9g361PsWfd/4Fv3e6IL+b3ZB/7e7ov+73TDgvW74/v1uGFi/OwY27IGBH/TEoEa9MLhxb/zQpDd+aNoHQz7uiyHN+mFo834Y9kl/DPt0AIa3/B7DW32PH1sPwog2gzDy88EY+cVgjPryB4xu9wNGdxiK0R2HYUyn4Rj71XCM+/pHjPtmBMZ/OxITuozChK6jMbHbaEzqPgaTeo7F5F7jMKX3eEzpOx5T+03AtP4TMG3AREwfOAl+gyerbcYPUzBj6FTMHDYNM4dPx+wRfpg9cgZmj5qBOWNmYu7YWZg7bhbmTZiN+RPnwH/SHPhPnosFU+dhwbT5WDjdH4v8FmDRzAVYPGsBAmYvwpK5i7F0XgAC5y9BoP8SBC5ciqBFgQgKCELwkiAELw3GssBghAQtQ0hwCJaHLFcWnSuWr1DHy5eFICR4mUoPDgxG0JIgBC0OUnWwrsAFS7DUPwBL5weotgLmLELA7IVYPHMBFs3wx0I/fyycNh8Lps7Hginz4D9pruo7xzBv/KzMMY2eidmjZmaOdYQfZg2fnslg6DSQieIzaDL8Bk7C9O8nYlr/iYohWU7pPQ5Teo3F5J5jManHGMV8QtdRmPDdSEz4diTGfzMC474egbFf/YixnYdjTIdhGN1+KEa3G6LOJc+pOrdtBmFE64H4sdVAde45B4a16K/mxJBmfdUc+aFpXwxu0kfNncEf9sKgRj0xsEFPDKzfA9+/313NtQHvdkX/d7qi39vfod+bXdD39S7oU+9rfPPiF3j64cfVQ4ZWLVsp39KmeC83/gV71dQ3hvraxD9ktG6nL28uFssFZmlhf9111+H+++9XFtFz5sxRoj7FTZYriA/nDftIAX/AgAFqwVqK9zfccANKlSqF5s2bK/Gebn60eK/nWkH0t6S3ac8zirq0xqafeT5ood96nj/6si9btqx6MESrd6ZzPhbUh98HvukREhKCTp06KR/4f/nLX8CHWFWqVMG3336r3Ejxu8AxcY6V5Hlmnmd9jmfNmoW6dZ/BQxVux8sflcUXI55Eu9FPZ9u+tOLsMMvYcXb4cr1Pqbx2evbwU1n6Yac7tXm5Def+2HXkFL5cX9a+6Pjs5bPmY3r2PNn5eq7PqXz2NnT5rPus+XRa9v5kzXelfWY7vrSh+6PzZ5bJ2hedJ3t92Rn6kiezvvyZf2yvqPVZs9Zc7b0TQ6c4s5ydfjnN13OZNR/rs+u0w5fbcM5r5/9ydPY2zDouH2fNp+N9qS97nuxz1FN9jM9ePmtfsqc/jTbDn8QHXz+Ghyr+B8+/+CwmTZqk3kwzxfuS/JtXUPcm0m7xJ6Dvp/j94vdNC/e8d+Y6TZd93P8TUeF0l/IQkP4gkPag65jhhzyEzTw8NsIsn+Yqq8obx+76jPw5tcm6VJ+sMqq/V9Bnc5yqDaOfqv92e1bYLO8el1kH8xtl8sLFLG9zusp9jo28B40b/NMt3PM/s/i4L/7XjeI8wgIX7mltSBcB/fr2w1NVn8ALD9XB4Be7Y/pbP2L2e2Mwp/5YzGs4DvMajcf8DyfAv8lELPhoEhZ+PBkLm0/FohbTsLjlNAS0mo4lrWdgaduZCPxiJoK+nI3g9nMQ3HEulnWah5Cv5mP5N/5Y3mUBVnRdiNBui7Cy+2KE9QzAqt5LsbrvUqzpH4jwAUEIHxiMiMHLsHZICNYNW451P67A+hGh2DAyDJtGr8KmsauxefwabJm4BpGTw7F1ylpsnbYOUX7rsW3GBmyftRE75mzCzrmbET1/C3YtiMTuRVuxOyAKe5Zsw57A7YgN2oHYZTsRtzwa8aG7sHdlDPat2oP9a/bgQEQsDq6LQ8L6eCRs3IdDm/Yhcct+JG09iKRtCTi8/RCO7EzE0V1JOBaTjGOxyTgedwQn9h5Fyr5jSDlwDCcTTuBUYgpOJ51E6uHTSD1yGmnHzyA9JRUZJ9ORcTodZ1MzcC7tHM5nnMf5c+dx4fwF/HTxJ1y8cBEXz1/EhXMXVNq59HM4l3oWZ09nIONUOtJPpCLteCpSj57GmcOncDr5pGrrVEIKTh48jpT9x1RfTsQfxfHYw6qP7Cv7zL4nb09QY0mMPIDEzftxaOM+NdaDa+NxICIO+9fEYt+qGOxduRvxobsRv3wX4kKiERu8Q7Ejw5jFUYop2Ub7R2LnvM2KOdlvm7kB2/zWq3OydUoEIidHIHJiOLaMX4PN41Zj05hV2DAqDBtGrMT6H1eoc8xzvXbwMkQMDEb490FY0z8Iq/sFYlWfpQjrFYCVPQIQ2n0RQrsuxIouCxDyjb+aUyGd52FZx7kI7jAHQe1mI/CLWWoOci4GtPJTc9O/+SR8+8IXeKbME6hds7YSg7k4JG9AzBt/fYNSnC84hW1smjn3+saQP+r79+/H119/DfqS5wKdFFPp47t3797YsGGDelOI54/lCvLD+UPXJvrNgKeeekpZ3f/1r39VC9nSJzkXyeUNroiqBXOmzDmm5xnPBV0ZrV+/HnR5REv2v//97+rcccHh0aNHY/fu3SoP8xaGecaH7PT1y7c8+GCBwj0fEtFF06effqq+FxyTfU0rGOoF16o+3/p6wnucffv2oVv3bnj6hRp4rn5p9FtcD6PX1ce4zQ0xXjZhIHNA5oDMgUI7B8ZubIChoe+gXotKePTx0vjoo4+wceNG9QaceV8l4n3B/e5Ky8WTgH0/5Vm4/xeiwukX/WEgrRSQzu1hV5j7UkCaK6ziGTbzGGGVz5XGY12O+fWxqs8qn6VNprnyO5VR9Rr16T6reN2m0SdPfdZt6vJq/Lq8i4VuX/XfW59z4JSXPntrU/dL91mN0cc++8gpdst9ItwXz0tDiR3VNRXuzQuw/lPLizBfJQ9dEYrWLVujwr1l0brGRxhX73vMrz8eCz6YhIUfTsbiJlOwuOlUBHw8DUuaT8fST/wQ2HImglrNQlDrWQhuOwfLPp+L5e3mYXn7+VjR0R+hnRdg5VcLEfbNIqzqshirugZgdfelCO8ZiPBegYjoHYS1fZdh3YAQrPs+BBsGr8DGH0KxcchKbBoehs0/rsKWUasROXoNto4JR9S4CGybsBbbJ63HjikbsGPqBuycvgnRMzZj16wt2D0nEjHztiJmfhRiF2xD3KIdiF+8E/FLdmJvYDT2Be/C/pAYHFi+BwdC9+BgWBwOrY7HofC9SIzYh6R1+5G84QAObzqII1sO4WhkIo5GJeLY9iQc33EYJ3YdQcruozi55xhOxR3HqfgTOLM/BakHTiI14RTSEk8jPekMMg6n4uzRNJw7no7zJ87iwslzuHj6PH5KvYCf0i/i0tmf8PO5S/jl4s/49adf8NulX/H7r7/hj99+B/7I9M37x29/4PdffsdvP/+KX3/6Fb9c/AW/nL+En8/+hEvpF1VdrJN1n085i3PHM3D2aDoyjqQhIzkV6YlnkHbotOob+3h67wmcij2u+p4Sc1SN5cTOwzi+PRnHopLUWDnmw5sSFAOySFq7D4nhexWjhLA4HFwZiwPLYxTDfcG7sTdwF/YujUZ8wE7ELtqO2AXbscc/Sp0DngueE56b6OmbsHPaRnXOtk9ej20T1yFq3FpsHRuhzi3P8ZYRq7B5WBg2DQ1Tc4BzYcPAFWpurO23DBF9ghHeO0jNnTXdl2B11wA1p8K+XYSVXy9Ucy20k7+aeyHt5iHki7lY1nYOgtvMRmCrGfBrPAqtnvwI1UtXxev1XldW0rSE5k2/Frr094N7+VwbApq5vh5ReOQfMvqjpjhJC2guzlm7dm0lWGoxleessHw4Bu3/nq573n77beXOh6IqF7ClixO+1USrafNhkcyza3MG9RzjXs8zuojjIrD0Z0/XSxTB9bmaOHGiWiiWD2SYv7B82Be6hKJbHz5YoEsmuszhAwcukNywYUOEhYWBDyVNMaMkzTOnc83vHK8rXJ/gszafovrTpdGi91MYseoDTNvRDH7RzeEX/Ylr47G52fEMm+n62FM+T/EsZ6bZ9dphsx3z2CmfWa9uR+/N/OaxTtd7M80+1mG9dyrDOL3Z+XS8uWcep3ye4lnWTDPL6jRdv6d8ZrzOq8ua9ZnHdj6nsF2vWd5M8xRv1qn7o+PM8jpO57Hr8xavy+oyem/H23WY+Xhshs2yZrx5rPPY9eqw3ptl7GMd1ntdpx12imcep3x2vM7jKd6u21s+M03X6zROXadO02GzjI7Tecw0fcy9Ptb5dDkzzczjaz6zvK5TlzXrM4/tfE5hu16z/Cfw29kcU7c1Q3e/1/HcuxVQ57kn1ALudFnIey99D8/fSP0bUFh+t6UfQqAoE9DfJ33v7Fm4/zeiwu8D0ksD6Y+4Nh47hZ3izDLmsac67Dw5he02c5vfLu8prPur92zHPPYW9lSnXcZTfb6W1/Vxr491nboOHbbz2GGd36zncp7YyAfQuMG/xOK+KF8EpO9ZCBSYcM8bHf65pzUab3xoMTphwgQ8UbM2nin1BLrX7QC/d0Yo4X5Rvgr3SxyF+/XfL/ci3Ifnr3C/whLu1zgJ9wmGcJ/sKNyf9lW4P+VNuP/VWbj/vXAI93yowYcbeRXud7mE+x0+C/cr3cL9eo/C/dJcCfdBrWZiyad++OHNnniryiso+1AZ9OjeQ1mvUpxzEu+zfEslcFUI2DeEPBdRUVHKbclDDz0EWq1z4deXX34ZQ4cOxd69e6+pj/HcDprX1GPHjmHhwoVo0aKFsoSmr3QuKkof/YynYMx8+o8mGcjn6hKw5xnf6Fi1ahU+++wz9VbEn//8Z9x3331qrYKpU6eqxZALk2Bv0uFY+HtN3/fs67vvvqv6zgcP/K588cUXCA8PVw/j9RzTYoZZT3E9ts+1eY/DBX/peuv5l57B4y+VQo/pb2Py5haYs7sN5uxum4uN+XNbxtf6PdXrKd7Xer3lu1p1e6qX8Z7SvPXTl7SrWa+nuj3F+9Jfb3lY75XU7a2smebp2Fvf8pJmtpOX8p7KeKqX8Z7SPNXla/zVrNdT3Z7ife2zp3xXq16256luT/Ge+pgZP3FDC3za6zk89b/KeP2Neu4H1fwfWxJ/74rr77iMq/AQsO+pPAv3NyIq/AEgvSyQXsa18dgpbMfp/Nx7KqPz5He63aau3+6jHdb9sctfSTinNjy1eTX6rMeh29Rt2GHvfY6NfBCNG/xbhPvC85WWnlwhgQIX7unrm75xaX1MFxTtvmynfIE3evRtDHm5B+Y3nAAt3Af4aHG/wqvF/RKs6bk0m8W9Z+F+DSJHhyPSyeJ+2gbs9Mtqcb/bZXG/x9+yuA9yWdwvj8EBQ7hPoMW9R+H+kFeL+5yE+7O0uE85iws+Cve/O1rc/+bd4v6Uy+L+RP5Y3B8xLO75FoKzcL8b+4N3Y59hcc+3G5TF/fysFvdXJtwv92BxT+F+idviPuzrhVjZeQE8WdxTuA9sOQMzG49Blxe+wGP3VUKdJ+vAb7qfsoLmTb8t3l/h91qK50DAvhnkOeDDQy4QWqtWLfzpT39Si4TSep0W0EwrKh+6NOHCtHxrQC36fcMNSlxt2bKliqdwzPlGQbUkiaoFcf7MeUbmFL1psd6lSxd1brhuwj333KPc5fDBypEjRwqim7luk+Pim3LsM90G0OKeDyAeeeQRtZAtH4Dxd72kiRnm+ebYTeE+NTVVPdRo36EdHi5zHxp3rINhgR9h3q4OWBDbSTZhIHNA5oDMgUI8B3it/mFRU7zf+glUqlpGuVPcvn07eM9l38Pzt0A+QkAIXBkB+57Ku3BPX+zlrK08kM5Nx5vHOs7cO+U3y9jpZll97C2/U3k7zims63baO+VnnM5rpzPejvMlv67PU3m7DjO/fezUvllet2GWcyqj0+20zPKxkQ+jcYMbRbi/sq+hlC5EBAqNcE8xiaIFF+N78YUXUfPhqmhVowmmv/tjPgv3S7FGucoJQkTvYLerHM/CvekqZy22TVh32VUOhXsPrnLyX7hPzuYqJyfhXrnKyVG4/wW/XvoVv/36G9zC/e9/4LKrHFO4/9mzq5wrFu4P4ciWhCyuci4L93sti/vdoKscR+HecpWjhXvfXeWYFve+Cfd0lbOy80KEdlrg6CpHC/cBn0zDpPpD8OnjH+KRux9G29ZtlJBK9xO8GbFFLrnxvzpXSqcbwdOnT4NuZl555RXlt5s+7SnaL1q0SC0Ae3V6cvVq5QNRLRA/8MAD6u0B+lFv166dWlOE11uZb1ePP2u25xlF+6NHj2L48OGoXr26mmd33303PvnkE+XrPiMj4+p26CrUzrdU+JCIPu5vuukmcNFargsxcOBAZZXvZIlYnK9r9jk3hXt+57jQMB92PPPMM6j6RBm0H/wmZmzuiCXxXbEkvpux18dmvNOxzqf3zGPm8xTvaz6WN+vwduwtzWxP59N7M83su1O8WcY8Nssx3kzzdqzT9N5uU9er0/Xezuct3kzzduwtzWxP59N7M033V8d5C3srb6Z5O9Zpeq/bNcM81mG9t/N5izfTzGNzbIw307wd6zS997UvvuZjvWbd3o69pZnt6Xx6b6bx2Fu8mWYem+UYb6Z5O9Zpem/3Rder0/Xezuct3kzzduwtzWxP59N7M033V8d5C3fD3O1fo8ekD/BMvSooW76MevMsMTFRvT3O6702htC/BcX59+4q3FJIlUIgCwH9PeL3iv9ZPAv3NyEq4mEgowKQXgHIqAikczPDrmPGq3TmY5zOy3gjv85j12eWYR53W0Z7ZhuqDzpfDm069ZntmW2Y7at28tJno4xm5NRn3R9vbeo8JifHPrtY21ztsK7PbJN5VFizcPXf7LOZX8VXQGxkKRHus3yjJFDUCRQq4Z4WabRsHdB/AGo+VgPPlXoKPZ7riAWNJuWbj/s1bh/3WYX7PPm49yDc7/Hk4z4oq497un/x3cd9duHeJx/3KTn7uKdwn8XHvVu4/83yce9FuPfg4/7MgZPKD3/OPu6zC/fKx33EXvVGgjdXOXEBOzz6uDeF++1TNiA3Pu7XD/Qk3Hvyce9duF/awg/zm07E8Df7oG6pJ/Bk9dro37+/ErgotIrFztW/nNo3gWROQY0LuHIh19tuu035tP/f//6nfJBzUVfeLBa1D8dJUTUuLk6Jqvfee68SimmB37VrV7X4LoVk0+pe/mDm31m25xn/bFC0nz59Oh5//HG14DEt7WmtvnnzZuUDneeiqH04Tvpvp+uf119/HTfeeKNayJkL7PLtFb5JR/G+pMwz+7zbwj3vcXbt2qWu+1Ueq4hXGtbEgJnNEbyvL4L390Pwfr13OjbTmK43M57HOqz3dj5P8Tqf3nvKx3gzzduxTtN7T3V7itfl9N7Ox3gzzTzWebn3ls8sY+Yz43Ud5l7Xb+fzFK/zmW3Y9ek8Ot4M63p1mg6b9dn5dVjvzTK6HjPNPNZ5c8pnluGxDuu9rscOe4rX+fTezsd4M83bsZmm6+HejOexDuu9zqvDem/H67Dee8rHeDPN27FO03tPdXuK1+X03s7HeDPNPNZ5ufeWzyxj5jPjdR3mXtdv5/MUr/OZbdj16Tw63gzrenWaDpv12fl12MxzuXzQ3r6YFt4ZX/R5C3c/eDvqN3gfISEh6j7SNMDRvwXcy0cICIG8EdDfoxyF+w9vRlQEF16tBGRUBtK5VXKFua8MZLjCKp5hVx7G83pS0HYAACAASURBVNgM6/IqzSjvrsPIn6c2XeV1fbrPuj0Vzzw59Nnspzled3mjDnOMee2zbk+Vt7iYbbr7YnBiuh6nu7xrfO5xOnDR58Xss6qL9Rl90G2qc515bmO3lkbjhjeJxX3evn5SqhASKFTCPQUALvazdu1atGj+CZ6s9Djeq1gP494aiAWNJ+XT4rR5c5WTq8Vp/aOwx8fFaZWrHMfFaenj/spc5bgt7r0uTnvZx73b4v4PTxb313Zx2sS1nlzlxCiLe3NxWrerHA8W9/nr436JWuiYCx7rxWl9cZWztMUMLG42DbMajUGHp1vhiUdqoMG79eHv76/cToh4f3WvkOYNIG8CKarR0p4Ww/QBTz/jt99+O55//nn4+fmpN4AoOhbVD8fIhxIUVTm+O++8UwnGNWrUwKRJk0Cf27aoWlTHWpj6bc4zPvThPOPCwHPnzsULL7ygFnTlgrQ8J3xgxN+9ovhwSDNn3/m7zbdT6tatq9ZU4EK79erVQ0BAgFqsloKGKd7rssVt73Tu+R3jQzJ+F3mu+QCHC2A3bdoETz5bFU3b/Q/T13RB6IEfsPLgENmEgcwBmQMyBwrxHAja8z3GB3XCaw0fR43aj6Jnzx6Ijo5WayDx956/ify9078H3MtHCAiB3BPQ3yF+n/i98mxxT+G+NJDxKJBeBcjg9mjWcJb4Kq58zO8qo9Kt8iqN9bjy6zw6bLeh29dt6fLcm2WYrja7j7o/Zn49Foc+63Hq9lT7rjrcfTHaUPmMsLu8LmO0ocZmhN2crPKexuhu39V/Xd7dpj5PRhvuMkYbTn321qbBOTayLBo3uFmE+9x/9aREISVwTYV7MuBFWF+AbWs0ugqgkMbXDulX+s3X3kDNB6uiw1MtMaPBKCxqOhkBH0/DkubTsfQTPwS2nImgVrMQ1HoWgtvOQcjnc7G83TzlrmRFR3+Edl6AlV8tRNg3i5Q/8lVdA7C6u7k4ra+ucjwsTuvg4z5G+7h3Cfdxi3cifslO7NU+7kOy+rhXFvcefdwnXpGPe7dw76OP+z8cfdz/6tHH/YXT55X/fPrRP5cLVzknY44qtz8ndh7G8e3JOBaVpBbizeYqJy/C/TXycc+5ZAr3nGs5+bincM+5u7DpFIx9eyDeqfgqaleshVYtW6mbfu0yh98L86a/kF47ily37BtACmk7duxA586dlY/um2++GbQU/uGHH5RLCwpuRf0PF/tPX+Rz5sxRrn/4RsG///1vvPfee1i6dKkSVfV803OuyJ3YQtRhPce4558MbvR/u3LlSuXHngsFc55R1J42bRr4RkdRn2PEzz9TKSkpGDlyJOrUqaPGyAdhXCRZv1Gg55lmVIhOW751RY+Ne36fPN3j8EHOhAkT8MqrL+GZl6uhy7CmCIkditUJoxB+aLRswkDmgMwBmQOFdA6sOTQKwbt+wMApbfDEc1Xwar2XMXbsWPUbyPtGXvdt8T7ffmSkIiFQggjoeyqtG3kU7j+8BVERZYCMx/K2pXsox3hPab625al8buNz097VrNupH97a85TmVI9TnKfynuKNOmK3lkPjBreIcF+CrhnFfagFJtzbF2G6daDAwVfJKQDwz/53Xb7DE489jv+VqYth9XphTqNx+SDcL0W4g4/7/HSVEzP/ssW9W7gPdC1O67Nwf0iJ2UejEnFsexKO78juKic/fdw7u8r53aurHCXcn3QtTuvBVU6qg6scCvcpu44gq3Cf3VWOZx/3ube4v9o+7jOFe++ucgKVcO+n5vD8xhPwbd3P8fSDtZRbqPHjxysLby7oyBsTuenP30uv080fxTP6ta9atapy71G2bFl888032LlzZ7EQU02Cx44dw+TJk5Vv7b/+9a+g65xu3bqBC6vRGljmm0kr78dO82z//v3K53v58uVx/fXXKx/w9HPPeOYvLh+OJSEhAX379lVj/Oc//4nSpUsrQYNj5RtFJWGeOc0Bjt2+x9m6dSs6deqIOs/WxluN62JGWG+s2jcW65MmY0PyFGxI5l4fM6w3O17n8RRvlnOqV5e30zzF6/rs/DpsputjT33zFK/r0n3Qe7M+81in671dXud1itdluNfHOp9dTsd7ymfWYecxw071OtWt85n16nx6b9ZrH+uw3pv1mcc6Xe+d6nbKr/PpNHPPuuz6dH6neDvNzmOG7XZ0mHmc8tnxOo+neLM+u186bOYx63OK13G6rM6vw2a6PvbUN0/xui5dt96b9ZnHOl3v7fI6r1O8LsO9Ptb57HI63lM+sw47jxl2qtepbp3PrFfn03uzXvtYh/XerO/y8bpDk7AiZhSat38TNZ98FE2aNsG6detAAxz99qw2hihOv/PF5X5FxlE0CDjdT+k3GGn4EhQUhIoVK+LjD29FVEQ5IKMakFHdtfFYb4zTx0557HQzr9Ox3YYd9lTGjDfbdCpvprOcncdON+t2OnYqb9eR27DdjlN5M848tsvqsJmHx2aYeXwPx26tgMYNRbgvGt926aUvBApEuOeF2BTueZNDwZI3PHyVnFb3SUlJ6jX7T5u3QLl7yqD1400x/t1BWPTRFI8W98tcFvcr2s+HZ4v7vC1OGzkmHFHjrMVpp2ZfnHb3vK3Y4x+FWCdXOZaP+4NhcfDdVU7uhfuzx9Nx/kTOPu5/8+jjnsK9uTitB1c5J87iXA7C/Zm9J3Aq9jhO7jmGFEeL+0zh/simBCRvOICkdfuhXOUoH/fx2Ran3W8sTuv2cb9wu2LPtx52z4nErllb4PZxP3Ujdvjk495cnHYF1g0Iwdp+yxDRJxjhvYPUQ5813bP6uA/zcXHaTIt7PwQ0m47FH03F1PeHo1WtJqjxSFW8+uqrWL16NU6dOuVe5KokiFy+XKSuNI9940drKIpoGzZsUIu10gL6X//6Fxo1aoQVK1Yo/lfaZmErTwZcP2To0KGgmxYKyFyId/bs2ep6qy3ENCvu5ZM7Apqd/m0jU77VERgYiIYNG6rFWznX2rdvj23btqkHdLlrofDn5tj5FkvHjh1BdzmcZ02aNEFYWJj6bScTU8wojvPMaR7QClPf4/ANGF7n+eBw8eLF+OSTZqj5ZGV07v8xAqNGYmPSDEQemS2bMJA5IHNA5kAhnwN+If3w/scv45lnn0KPHj3UG+P83bcNcAr/r7f0UAgUPgL2/ZRHi/tGFO7LAxk1rI0irysunXs77CW/Ksf8Hsqo+uzyVjjdqbxRn+5blr2Rbrdhh919NNp1bNNIz9KWjs+pTSM9T+V1O3rP+ow6r1KfY7dWROOGt4rFfeH7akuP8kjgmgv37Kd5IeYfee0DlmIa3eVwQTta3XMRt7FjxqJW9Vqoem9lfPd8O8z+cOwVCvd583GfKdxHYNuEtdg+aT12TN6AHR6E+xhPPu7zLNwn4/iOw8q9TMruo0r8PhV3HDlZ3Ock3P968RflBkcL91l83P/+B37/xUfh3gdXOTkL94k4suUQroZwv3P6JuS3j/vVhqucTOHes6ucwFYzsbTlDFC4X9rcD0uaTUfAR1OxsPFkDHm1J96rXA8P3H0fvvjiC9AKkwKPFlJNkSuP3/ESX8y83vBhCG/8aKkxZcoUPP3007juuutQoUIF5fe9uLgucTrp/DO5fv16vP/+++pBxV133YUvv/wSu3fvdluIycMiJ3K+xXGe8fvKjRz5u5acnKws0CtXrqyYc2Ha0NBQ5b6I+Yvjh8I01+148cUX8ac//QkPPPCAcj/FB0fajYB5XSuOHOxrDsftZHUfExOjFvF97vm6qP5kBYxf0Avr9s7EjmOLsOP4Iuw4sRg7TriOVdgVx2P3ttg6tsKs47gV5y7rUJ9Tm9nK51CfalOPwaENuz4zvxrnNehzFq7kbI7pWvXZatPmYoez9Nmhj/YYspW3uKr8Zh/MY1f9ObVpt2GHcypv95lhdxl9Xsx+WWPI0l5+9dmHNuzvkLvP7APnfm77bORneZuLXZ+drsJGHVnyO9SXhbOPfc4yRn1ujGuR3acsffCUP7d9NvP7wDlLnz1wMM+lY5+NNi3O6/fPQv8xHfBSvafV/STXreF9pP6tM++piuPvvYxJCFxNAva9lEfh/sPbELW2InC2FpBhbGcfzxrOsMI+5TfLPO7Qhtkej638WcK1ALtPdh/s/AybecxjjlXVl1ObRh9VGSucpU22Z9an2zDK2H3IUt6Vz8xjHl/DPsdurYzGDW8T4f5qfkml7mtKoECEe46QF2MtcPBCzJscCpYUl7TVPUUPWiF3aN8B5R4ui/cerYchr/fE4mZT88nHfRDW9l2mrKoLt6ucvAn3vvm4/wVauM/i494t3Ofg4167ysmlj/vsrnIyhfvDpsV9RP4tTktXOdtzbXG/3IPF/VKs7rokTz7ulXD/caZwv6jJFPi9PxJd67bH4/dXwxM1a4Muc+huwummvzgKXFf7amff9PGBCB8QcnHIzz//HHfccQf+9re/oVWrVso9F8W14vrhH8gjR44o3+oUkm+88UY8++yzmD59unJTxuuw+SdT5pvvM8GeZ2RJ1298g+Ptt99WC7bS5zvdEx06dKhYWttrWvyO7dmzB/3791cLItNlToMGDdQrzXyrriQ8lHSaD+abhdrqnvc4fJBDlzllyz+CVh0+gH/YKOw4EoiYkyGISXFtPHaHl2Ueu+PM8DLEpHAz87uOvZXX+VUeo7y7jFkf2zPa1O3pOgqkzzlx8tBnN8OcyjM9D1x0/T5xdbXhLmOfSy/tq/rt8oWhz+yDD/PPPeY89tmcc+axNy7uNm3OPvY5y7i8nBvVHw/zT9dRIH3OaZwe+qy5+dpnPUb3ucjhWqLrV/ldXHUdZpv6mN9Ldxn7XHo5L+7+mOVzP/+ijwVj6foJ6Nj9E9R+qgbatm3jXteF9wH6907/JujfSdkLASGQMwH9vTH1ImdXObcjKqIykFHb83bWSsspzLq85bHTnNq28+QUtuvIbf5r0We7j3b4WvQ5pzZc6bFbHxXhPuevmeQoQgQKXLjnxZg3NrzB0RZptLrXvu737t2LhQsX4pWXX0HtsjXRsnZjTGkw/AqEe+3jPhARvX1dnHYNtipXObS4X5dpcT9lA3ZwcdrpmxA9Y7Nyy0L3LB4Xp821j/sEy8d97i3ur0i4/01b3Pso3OfgKue04SrnWi5Oy3MTPX0T8tvHfV4Wp6WPewr3AYZw799oEsa9OQgtazRGhXvLoflHzZVrDc5/86ZfW6gWoWtLoeiqfdPHByJ8m4cLidHangu1UsTm4q30A8/8xfnDhxZ8k4nuS+6++25QTP70008RFxenHmjwWqznmmZXnHnk19g0K/17xofQFGV79eql3ua49dZblWsiPoimeF2c5xnHxuvX8uXL8dJLL6nvGP37kwUfSvK6VhIeEJED5wPH6nSPo98s5HeP159XXnkZTz9bC72HdEB49FzEn16D+FOujcc6rI993bMOX/M6tZGX8nkpY/Yxp/J2uh026/LlmOVzW4ed3w7b7drpdtjO7xQ2y/DYDDP/qdXez7Wd36kNM471mWWc2jTzOx2b5R3T87vPFhfV5xzasPuVU5+d8ptlzGM7r6ewXcYO2+XsdDts57fDzJ/bMk512HHewnZ7dthbWablpc92G3bYlza95Tm1BtsTl8EvYBg+bP4OatSsjtGjR6l7Kt4HlJTfu/y6l5J6hIBJwLy35r0Uv0/Owv1/ELW2CpDxpGzCwD0HYrdWReOGt4vFvfmlkuMiTaBAhXv7j622ujd93fOVw9jYWOVu4ImaT+D5cnXQ7cUOWNhsCpZ+OgNBrWYhqPUsBLedA+3jfvlV8HHvKNznwVXOAS5Ou3wPDoTuwdX2ca+E+1z4uM/iKsct3Pvg456ucnIh3Dv7uKfFfQKyWNyv9Wxxb/q4jw/YibhFOxC7ILuP+ysR7jcM9Ozj3hbuV3amq5ycF6dVwr3LVc7iJlOw6MMpmNNgHIa/2gfPPfQUnq72JHr17KUsVnlzIjf9V3Z9ta8x/CMVHR2N5s2bK1/v99xzD9q2bav+ZBVna3tNkTe+FFX54IJuW2666SbUrFkT8+bNy+Lr3hTvdVnZeyZgzjN+Z8mYayhQuL7llltQqVIl9Rt28uRJJeR6rql4pJABF6Tt06cPHnroITXP3nrrLSXm83umrRCL+zwz5wXH7HSPwweGXPOAbyhUq14V9Ru/jqn+QxF3IgIHUze5ts04mMrNFU7bjINpOm1T5nG2sJGf5byVYVmm223o9nwqr+vQ/WIfjX6qNnSa7rNDH3PVpkOfzXbM9tUYXO2ax2rcul+Foc9GH9399MYpj33ONl80A6dzkxNnH/vsbrMA+6znlzlPHDiv3x2AuSHjsPfkOixZMxWb4gKzfs9UeQcuun5VpzH/3W24OOv2C938K4p99nH+uc9N/s6/A2c2YeOeQAwd1xOVqpRD48YfqvVLZM2q4nE/I6MoOAK8hzLvo7wL948CZ58GMp7O3PPYDHuLZ5pO13tdVofNPDrNbkPH22XMsJnH13i7nZz6YtbrdKz7YNZr5tPxZj7dpp3PU7wua+bXxzpNt2PH6zD3+tgso+N1mt5b9cVurYbGDf8jwn3BfYWl5XwmUGiEe/0kVb9OTjcD+nVyundYt24dmn3cDDXKV8NblV7BxAZDsbjFdNB/uLNwPx+hnRdg5VcLEfbNIuXWhGLrmu6mxb0vrnLWIHJ0uGFxn7OP+5wWp92/PAbxy6IRFxKNQ6vjcSh8LxIj9mH/qj3Yu2o3kjceUP7ej0Ym4mhUIo5tv+wq5/iuwzganYRju5JxKv4EzuxPQeqBk0hNOIVTB07g8J5EpCWdxtmjaZnb8XRcoDubk2dx8cx5/JR+EZfO/oSfz13CLxd/xq8/eXOV8xt++zm7xf1PaRdw9mQ6zp5Ix7mUDJx38HGfdug0Th9IQcreY6C1vWlxT+H+UOR+JEUewPHtyTgWlaTeLqCPe1O4T1q7D4mOi9PGwBTu3YvTOgj3XJxW+7j3zVVOGDb+EIoNg1dg/UBPrnKyLk678uuFaq6FdvIHHxqFtJuHkC/mYlnbOQhuM1vN0cCWM6At7unjnovT0lUOhXv/DyZixrsj0fnJ1njioRp49813lQUmF2l2Erny+RpQbKuzb/gomtENF/1v16hRAzfccANq166t3uih0EoRsSR8eK01H17Q6p6+7hMTEx1dNJUEJlcyRqd5xsXV6fbqzjvvBF3FvPfee2qBVv7pYP6S8OEDeK6pQF/3t92W6WNy4MCB6s0OcuA85KbF++LIxPzDaVvd8x6H1x0+zOF3j/c4H3zwAZ56+nG0+7olNkQHISl9B5IzduJwxg7XxmNXOF0f78RhHqczjxlnhVUdOn2Hh/xmGfPYVX9Obdpt2OGcyttjyFaefTL75RTWY8y5z0lp23EgZQtikte5trWIO7IeB05GujnvP7EZew7r9HXYk7wWe49tRMLpqMw8rj7zPB06E6XS9iSvw/6ULUhM3Z55bqw+M9/+k1vA9rntO7EpSx/Yn9jD61UdSamZ6Ymp25Dsqic5fTsS2NaJTdh7fBPij24wyrOva1U/449tdI+D7bDN2CPrEXd0Aw6p+jJZJafvwKEz23Dw1Fa1z2Sy1qiTx2tVucS07Wp/8FSka25mcmYd5HbglIudcS4TTm9VXC7Pzx2KH/vONLZNpmwjy7k4ugFsR7V5ZD0yGbjOL78bHFPKFsWdacxLtuwDx2jXx/MSf3Qj9vGcqnOeOS6zTdbDfo6ZNgjPvvgUtsQux4cfv4tp80eq7wzHyTxxRzbgoJonWecj6+a4VF/Td6hjzhXyJ1+yTUrf7jovO5GUug08Txwjy7C82R+OgeeM4+T3nPOR4+S1QfF0XSM45sx5m7U/mdcFK86aj5fPS87fmcy8OdSn+qb756rT27WJ+e1rQ7Y+2m36/j137LPmp/tl9llfY3Ua9075jT4fSInEqs0L0azlB6j1eHV069ZVLdRuW90X59+74vgbLmMqWAL2/bVn4f4OREVUBTKeAc7WATK4PeMKc18HOMs0V5wKu/KoeKabYaOsLuNU3p1mtOnO52pT90P1zazXSHfX4+qjCvvQZz1Od5tmefvYNUZ3W7702VVG910z0mG9d7dv9Zn5dRmVx6lN87zw2FWHqttV3t1n61yqeCM/yxjnNnZrDTRueIcI9wX7NZbW85FAgQn3egxOf2xpaWwvVEu3A9OmTcPrr76OiveUQ6snmmJm09FY0tJPCfcUSUM+n4vl7eYp8XRFR2fhfnX3vC1Oe9ni3iXce3CVs3veVsTMj8Ie/23KCjx+8U7EL9mJvUHR2Be8CxTt44J3Imj8YswdNiNTuF+zV4n380fOwtCugxAXtgvJmw4arnIuC/cHNscjfPEqhC1YkW1x2qg1kejxTXck70lE+uFUnDh4DEcPHFGi/fGEo0g7dgYXU89fsXB//vRZbNsUhT3bYsB6nYT7E/FHsWvdDkSGbULSzoRswv2EwWPhP36uV+GeDzP4UIMPNxLC4nBwZSwOLI/B/pCswr03i/vcC/crfRDuc+fjng+Xsgj3H2cV7hd+MAnzG4zH+NcHo2Glt1CrTHU0atRI+cmk2ygtcukb/pIi/OlrRF739rWFD0EokvXs2ROlSpVSFvfNmjVDfHy8Eqzz2k5RK0cunFeDBg1ClSpVlEX4888/j8jISOWXvaRYQ+fXebPnGf+o0x3RZ599hptvvlnNte7duyvf9iXpu8t5xO8b15J48MEHwbdb+H3jg3gyKinzzJ4ffIDIaxHX8+H3ULvMoXg/depUvPrqK3jmuSfR74fvsP/YNhzLiMWJ8/E47mFjmt6Yxzx2CjvFmWX0Mfc5tanTdRlPYR2v9zq/bkOHdbrT3s5jhvUx905lGafz6HSGYxM3YX7gFLRp3yxza9cMPQd8hUUhfjh+Lh4nzsVj5oJx6PBNa7Rp3xxt2jFfcwwd0xfhWwJVuq6P52njzuUYPq4/vujUAjMXjsfug+uznDvdh827QjF78UTsSdyEgynbMX76kCx9YDudvmuLOYsnIj55CybPHoFtcWuQfGaXqi/xVDQitgZhzJQfMGrSIAwY2s3dN9VHVz/7DenqHjfbmhswCd/2aK/m1tbYVTicFqN4JafuAsPBa+Zh065Q+AdPddV3mQvr7dH/K+w6sA59B3dB8Oq5OJK+x13/4dTdituS0FnZxrxq42LF5djZOMWVzNZGBWPUxIEI2xiALbtXYsT4Adna7DngayxdORsxhzag98BvsGNfBI6ddX0fzsYi8XS04rwpeoVivWzNPKzbtgwBK2aqMWaer8tj+KLTp4rVpFkjLp9Pxepynu17w1X/DxzfhhXrFuKr79oq1myL5y85dTe2xa1Gj/6dEbRqLo6fi3Mz4PGUOSMxYsL3itORtBiMmTIYqzYtQWzSJiyP8Me8pVOw71iUu8yepE0YNKInovevVeObOndUtrnQpVd7zFgwTrU1fd5odZ72Hd2q6iDLoxmxasyLlvtlmf96vuk5aob1Mfc63d7rPDo+pzDzmXn0Mfd2mq7T3usyOt4M62Ndn1mnjtN5nMrrOHtvltHHnuqzyzKs8p6LA+fMopCZeOnV5/D8C8+pRdnNhWp5Dy/38fl15yX1lAQCvH8y76E8C/d3ImptdeDsc8DZZ42NYTPOPDbz6WM73S7PfHYeXdZp70t5uz6nMk516zhfytt5dFm9z226nZ9hO07X7bS389thlsmpvpzTY7fWEuG+JFwoStAYC4Vwb1+UnV4nP3HiBLZs2YIe3Xvgyeq1UfuB6hj0Znf4N5/kweLe39HiPlO4D0R4r6D88XHvl9XHfU7CPYXnPUu3YWKfMejXoTcSVsfj4Ko49Pi8K75p1RlLJizAofV7cXgzfdwfclncJ+H4jmSc2HUEMRE7MXvsDEwZPimbcH9kTxIiV2/G6YQUrFsegdXBYdgXHY+TSSno0703tqzdBIruGSfTsTcmHrNmzEJgQCC2bNyCpENJ8NVVDi3uU5KO41RyCtKPpWYK95arnDMHT+JobDKSoxOQEnc0m3DfskkL9P2qlyXcW65y8iLcz49S6wxwvYFds7ao9QeuhY/7XLnKcfm4165yKNwvaDgRc94bg+512uPFR55BzSo1lGsNPrDigyyKXHLT7/uV2b7ZIz8+DOTCoO+++66yAK5QoYJiTKtXWv6WpA/Hu2DBAtSrV0+Jy+XKlcPMmTNx+PBhxwdF5Cmf7ATsecY/FbSkDg8PV66IuPAx11KYPHmyEmmz11B8Y8iGAvWYMWNQq1Yt3H777XjhhRewatUqZWleUh5IOs0R3uPwus63EvSbhRR4tm7dii5duqDus8/gzXdexYqIABw5HYczFxONLQlnLnLTcfrYU3xu8pl16HpZ3ozX9TnF5yafp/K6frMusy+6XE75zPI6ry6bWd+OuPWYNH0kevT9BstWLcS6yBVYEDgD3w/tiW59vkZ8YhS+69kJn3dopdKYzm3qrLEYMqIf5i6aotiknDuIwT/2QbdenRG+KRjrt67AnIVT0OnbzzFqwmCcVufq8hiWhy9Cz37fYHvsOhw4shMDfuiBbr2/ytLGxu1hiDsUhZj9m9H+qzaq3sOnYnHo+G4EhMzGy689j8DQ+YiO34htMWuxen0g5i6cijZftsCEaSOwLjIUUTFr1TzxmzdBtTF5xihs3BamtnadWmPi9JHYk7AVh0/HYfWGQIyfOhwbokKxN2mbuy8vvfIc+g7shrVbliMyeg2Ope5DvTf+h3FThuN4+n73XDx6Jh5DRvbDiHEDXXPzMv9Z/hPxYdP3cep8gkoLDJ2HvoO6qfwJx3erNkeOH4zRE4a42yXnyF3h2H94B6JiIvD8S89gfdQKnDx3ULXJupJO7kHXXp0RHOaPyF1rMH7qj1gSMgfR8RsQtTsCazYGY/qccXj+pTqYt3ga1m8NVaxiDmxR7QStfR0VfQAAIABJREFUnI8OX7fBt93au9s9ciZe9XH3/s2KT4P/z953wFWVZOnv/nd2ws7s7OzszO5MT8fpnJMddVrtoHay7WBsc261zTlnMYc2IxhQQQUkCwgSJcgjBwUElCAoYgBMbfd8/99XUI96xX3woI3te7/ffZVOnTp1bt1763517qmeXyI8LgCnzueIfJbzHH/4yQdwWD4HRwsSzDqg3r75dgB69++OuORQUWfgN33EWEg5dhgrvluAV157EZFHAlFeXSD4cQx+3vkT8HxHm4Lh5LIOq9cvRmR8zVijHuJSDiErn+2cwMTpo9H16y+wZkOdnk9X5mHVegcs/26hWRbLe4Qc9/I6qDs3lnRqvqSVdevGb10dnd4o3VB9vUxvQ03r8si03qa1fMlLp5f5RrLoZUa862jOVOUjtzgVcx2m44N275o3Zbdb3f985zn2nt1cDRjNnzh3ouED50x+fn54/vnn0a/nfTBFvg5Uvn+PHgSxb1TfbeVlK92NkqshPsayZCW8hV7d/2q3uL+5l6md+y3UwG0H7tlX9cZMgI0v9HzhJ9Cmfk5O0M3LywtDBw/Fs488jX5vdcfG7kvhPXRHk3zch8++QcC9gY97uTltlrtmca9sTpvhbcKaacsxZcgEZAYkY+XUpRjTbyQ2zV+H9MAkFMYeR17UMbit3YklUxdh1exl8NnmiZMJeUg9lIj1i9dizJDRWLNwFRZNn4/Aff4oSDmO5AgTFs5cgPzUXCyYMQ8D+gzAsoVLcSggFG+9+RZGDh+JyNAIFOcVwW2nK3r17ImeX/fEooWLEHM4BperL8HN1Q1BgUFw3+eOTRs2wdfLBzFRMdjuvB1Om50QdShSgP+p8ck4mpyJU3nFOJachU1rNmLp/CXYtsEZCWHxKD1WjIzDqUg8dASFqQXIiEzBXkdXLJq2AC5rt6HN2+9g4jfjUGwqwNGwNGxatA6LJs3H2rmrcGCbD05G5YKucvwd92PVtGWYNWIa5o+ajeAtvkj3MiHHPx3ZvmnI9kkFLe6zPJNuq497umWy5irHT7O4VzenpascAdx3c8S+Lpux+dMlGPJqL7z16Gto/347sVEtF62MQC5eN/afsQbUewpBauqProfCwsLw2muvCZ/btDLftWuXsLa/F3VJv9q0hv6///s//OUvf8GMGTOEpTjvvfaFIuNxpebKMcaQi2rUGQFZWpTz6zBu/vv73/9efD0TFBQkxqCsT3rqn+OPmyWzblN/rMfFFgK/1n60eOceMaRpaHGKdNwIntcJ+8NNdOmjX/2xPjdSJfBu64/95DVH//YE7rkR9HfffYeSkhKzWybSSF3ayvduopN9Yz+pQzlOjOY4dLHk6emJgQMHomWrtzBz7mSkHYtHRXUxKq+ebuZR1sx6zW3vZta7sX1JzozFZue1WPXdEhSUHBV6yj2Zji3b1uP5F56BKTUaI8cMw9gJIy10GH0kFIuWzMXkaeNw8WoZXNy2YNbcqdi+yxGlFfmovFqGlMw4zF80C3MXzoQpLdqivn+wJ8ZNGoWkjBjkF2dhvsMsLFu1yIJGnu/MHBP6D+qN0MgApGcnwDtgL+bMn4YFDnNwvDDDXOfMhZM4khwpZA0I8RL55y+dwsnSYxg74VssWb4AcYkRuHilFBXVJXDavhFjxn+LzVvXoaT8OA6G+2L12qWINYWZeVKG1m1aYYPjaly4UmrOf7vlG0Jn5ZWFtXllKDtXgHmLZsJh2TyRd1EZr84uG/HhJ+1w4fIpBIf7iL5S5xExBwVtbGIYNjt/h/2+bmZ+sv8MeR5eeOl5RMUdxLlLJYLm/OVTKD6Ti1Fjh8M7YB/ikyOwet0yuHvtEvmsV15ZhIiYILzV8g3BQ+XJc3S8MB0zZk/CwsWzNZnLEHBwPwYN7Ye1G1di2aqFiEsMFzTsJ8/FwCH9MGzkELh776qV+TQ8fV0xaGh/oVfq8czFQnzV5XMxLlKz4rF89SJ89EkHTJ89Cewzxw7H4DutW+FwwiFExYdgx+4t2OPpgotXjMf60BGD0LHTx5g6cwIiY4MEj3PVJVi4ZA7mLZpllqWur8Z86spv5vV6o3mzL3d2f3idRMQexIiR3+CDD97HuHHjkJOTIxZpee/nM0A+8+6m55hdVrsGbocG9PkT56jGwP3fYIp8E6hspx0fNJLW6fU066s81LhOK9M6jZ6WdNZCnV5PG9VTaRhX00b0ep5Or6eN6FUaNU5aPa3X12lIb0sdlY9Or6fbISuhJXp1v88O3N+Oi9fe5k3RwB0H3KsvtvLmTL/UBN0IYNIFgdhY8fU30PLx1zHvk8lwH+TcBODeG0bAfZTDAeHXnP7NY5YfROyqEMStDkX82kM4si6svo97usppJnCf7m3C6qnLMbjrAKyftRoftHwPG+etRVpAIgoPH0de5FHsXuOCqcMnYUC3fhj89QDMnzgbpqB4JATFYemsxejyWWeMHDQCvTp/jfEjxiJgry88XdzxwP0PICkyAeO/HYt277XDyGHfwtPVA88/9zw+79gJHm7uyEhOx5wZszFyxLcYOGAghg8bBsfNjjh3tkIALHPnzsWCBQvQr09fAe47bnLE5ImT0bd3HyyctwBnik5j7043BPkcgCnqCPw9/DBkwGD0/boPhg38Bm5Ou3HsSCaC3AOwb+sepEUmw9tlP8YMGYU+XXtj7sTZePWFVzB+6FikhyZjy5KNGDNwFPp16YNhvYZi1cxlMHnHIs3fhBVTF2NA577o9nFndP+4C2YNn4awrUE2A/d0lSMt7pvu49765rSHpnuJfRNCpniiMR/3Erj3GeQCbk5LH/deio97M3DfdTPcvtoAh/emotPTHfDoA49g5owZyMjIMAS5OKGx/4w1oE72JFDGhb/Vq1fjkUceEWB13759BTh5r+qRYO2qVauEKxf6Ye/evbsAWWnJYrRQZKzpezdXHWN8EafOCMYmJSVh8uTJArS/7777MH36dKSnpwtwWmqLC9Lbt28XPs1dXV3F3guyzNaQrlVmzZolgH9rdQgEE4BvbHGAbpLopoWL5ewLFwQIIKs/XkexsbHYsWOHmt1gnDriQsbo0aPx4IMPimP48OHCPZWRu5wGmd3FhepYaWyOw7GycuVKvPf+e2jX4X2EhAfizPlTuHz9Iq404dDp9XRjvJpKT35qHcbVdGPt6fWN0joPvY2mtpd+NAlbtm7CmnUrUVSaL+Q9deYE9njswqOP/h1JqfEYPXYkuvXoAm9/d/OxY7czlixfhBWrlqH66nl88WUnODptwJlzJRbnKCEpFlucN2HzlvXmfMoYGOKHCZPHIS0rCYWn8jB1xiQM+WagmT/biowJRX5hNrLzMjBwcH94+brD0XkDpk6fhCXLFuHS9xfMPKmXc1WnkZgah/ETxyA4NECUnb1YiujYMEyYNA4hhw6Y6SlD9dVzGDNuJEaOGYHC0jyERQZh7fpVSEiKMdORb5u2rbHJaT2qr50353NRac3albhQfcacd/ZCKRY6zMXS5Q4iTz0X23c6o+27rREVE4qhwwZh4eJ5iDdFm+smJMeIvNnzZljoICktXug0JT0BL7z4PNasXY79PnsEzX7fvXDdu0Poxj/QW/Sd8u/32Yeys0XiXF6oLsfhuHC83eotkIc+fk4U52LWnOlwWLrAQubzVWfgsnsrunXvgsKS4+jRsxt2u+0QOmM/I6JDsW7jGvTt1wsOSxYI3Vz+/gLmL5qD8RPHYqPjOqHHc1Vn0LnrV9jpug2Zx1KwdYcjnLdtxtc9u8Np6yYx5tKPJqN1m3cQn3gYsQlRWLthNabPnAJvv7rxdjg+HKXlJ4WMw0YMxfRZU7F85WLMnT8TZ86XgP10WLoQCx3mNXrN8byo50aN6/qxllbr6PyM6qj0LNfTRnXUPL2NptZvbpu6DGq6ofjZi2XYun0LPuvUEW3btkVAQIBwG6fPq+7iR5pddLsGbokG9LmTdeD+fpgi3wYqO9gPuw7MYyAr4R924P6WXKn2Rm6VBu4o4J43aGmVJkEQvtzLz8kJNOXm5mLv3r3o+MmnePHB5zCt/WjsHeBoAdwHjdmLoHENucrxQfgcX0TMrducNtoh0Apwb2VzWunjvomucujjnsD98okOaNWiJZ76+5P4pO1H8Nq4T/hzJ3CfFmjCqy+8ipWzliHBLxahbkFwmLoAO9ftQKh7sAC+R/QfhvKjpcINzRcfd8LUsZPh6bIPDz7wILKOpGP/bk+479yHLFMGTuWVoHuX7gjyDcS50gqYYhMwZ+YcFOUX4mxZORbMWyBAu4pa4J5AUvmZchyOPox3330X/r7+OF1yGq47d2PShEnIyzoOtx27BXDv5+6DXc474e/uh+zEo3B13iUWEBJC48zAfbRfBLas2owlMxzAjWlzY4/io/c+xNjBo+Hl7IGXn3sJAdu8kRwQD29Hd6ycsQzr566Bz2YPbF6wHvvX70WyVzwObPZGu7ffw67FWy02p7Xwca+5ylF93Cc7H0aSUzQSHaNg2hiJhA0RYlGGizPxa0IRtzIEsSsa93FPd0vc6Dh06n5I4L7GVY71zWl9hrjADNxbcZWzr+tm7O28Ces+XIABL3fHI395CIMHDRbuE6QVNEEfOZFhaP/V14DUj7yXEHCk/lJSUtCnTx/86U9/wmOPPQb6HSewea/+qCcfHx/xYvmrX/1KbNTLa5/3Wf0F0z7W6o8SfZzJFwq+pHfs2FFsfkx3TFu2bBGLzioHLsbt378fCxcuROvWrXH8+HFxXXPM8pnHhWr6P+fiNcF0LqbIH5+HcnGFdLwnkIZW9Tyk33R5zyAPCRbLMtLRRRRDlnt4eGDEiBHi3PN64cIC21F/7C9pWca42h7jHDesq/9ISyv7V155Rbhl6tChg9i0lnX0cabX/bmk5VhhKO9Lco6jf1nIscCFk27duqFFixYICPDD2YozuP7jNVz/8WptyLh+GJXpeXraiEdDNHqZnm5MRlva03nqaZ1HY23q9evSR7Mz4bR1C5YuW4JjOVkoryhDRFQYZs+dhW9HjsCJwnyMHTcGj/z9ETz3/HN49rln8dBDD+LRxx7FlGlTUFl9AZevVqNly5bYus1JOSc1bVy4eA773PdiwsRxStk1hIQGY9KUicg8moHSsmIMGjQAf73vr6KN555/Fjx69+kNH18v5OXnYtDgQVjksBAdPuyAPn37IDktqd5YqLp0AanpyZg4cQJCww6K9k6fKcW2bVvhtscVuXnZFjJw/Cxe4oDZs2eKssioMKzfsBbJKYm1dOzDVbR9ty22ODvi2vUr5jZb/aMV1q3/DtWXK808L1adg8PiRVi+Ypk5T45Rl507QHdsX/fsISzfHJ0242LVeTNdUkoievXqiYcffljRwXOYO38OMo+lIz0zFS+88DyeffYZcQ7kuXj66afx8ScfIzD4AFLTkrF+4zr4+Hnh7Lma66X6chXijsSgVauWSM9MM7cn5SouKcScubPF+Zd5DHOOH4PLzu1CP+xX5y6dsWHjepSfLcPFynM4HBMF561OGD78GyxbvgTnLpzFpStVmD1nNiZOmgDnrVvAPlVduoiu3brA1W23GF+ubrsQdPAAduzcjlVrVsIvwFeMgTZtWiMxKQEJpnhMmDge3DCeY02OhcFDBsGUdATXf7iGEd+OgNue3fD0dEf//v0QHRMpxu3SZYuF/mv6UTfGjdPNv2bq9GRLG0bXqrU8W/jpNCovvYxpo7yG6qhltsSN+F8V94TgkCAMHDgAr776qviy7tSpU/UMcH4uzzd7P+wauFkakHMndd7EeSjnwJaucu6HKaolUPURUPkhUMXjo9o0ww+Bytq0yGe6lob5jOtpwYtlCh8ZF/zUNpQ2BT+lTYu03qbkXVtf0op2bJBZ9lPWqyezwkPto6BrQGahI9kHazJL2Wt1ZJa5ll62UU+vKj+Fh2xTyCnzlfMi+clzae6z0kfBo65Olukd9Or+N7vF/c26QO18b7kG7gjgnr3Wb84EAHQ/sAQG4uLiQIvwZx57Cp+9+CFWfjUP+4dsQ/3Naa0B9z4I+0mucrTNaZsJ3E/oPwbvv90W+9ftQZcPv8TKaUsR5xGJwujjSPKLw0N/exDPPP4UWrZ4C2++8gZavPgqBvcahH2Obti8bANWzl0ufNyfzSkDgfspYyYJwLwx4L6q/CJOF51GdHg0drvswoxpM9CqVSt0/LSj2eI+NCQU17+/joT4BHTp3AXJCcmorLgIjz3umDV9FnLSs+FaC9ynxCXBY/c+tHilBd5t3RYzJ81AuN8hHE/KNgP3e51csWvDDvjt8sGZzFMoSy9G1886C4t71/U78Zc//x/eeLEFWrV4C2+89Br+8XorDOk+ECavWARv84fjgvWYOnQSOrb9GC8//SJcFjk1CbhvmsV948B92Exrm9O6i42RD4zegwMj3cSY9B++G6rFvfeAHaCrnP26xX13RxC43/nFd5jccgTaPPo2nn/6OfElRH5+vgCeeU0QgOMERl4vt/yOcYc3KPXCkHqizgiQERyLjIwU4DSty9966y04OzsLvd7hXbqp4plMJgHY/uY3v8FTTz0lLH0JHPLeq4+3myrIXcbcaJxRZ3yZoEU6N/399a9/jfbt2+PgwYNCn2oX+dUYD7qd+fjjj4WVPl9GaBlPQP/LL78U+y9wEWDPnj1wdHQU1Xn9r1mzRrjiodsabmLNfQnocmfs2LGYMGGCsMLv2bMnIiIihPsbf39/sUBFVzjz588XblhIx81z+Rk/ZVi7dq1YpF23bp0A4BcvXizkU2XmdRQYGAgHBwdxTbE91ufzeMyYMWjXrp3YQ0KtI+MHDhwQe0v84Q9/EAD+vn37LNzlsF/U6c/5J8eMfAFV5zgcN/yyUM5xpk2bJu5RBOxSUpNx6XI1fvzn9SYeP1ih1/P1tGxHz9fT1uhkvhpaq6vSMG6NTs/X05KPtXxZbhkeyz6KFSuXo3Xrd9Cvf18MG/4N5s6bAz9/X5ytKMf3169i3PixGDlyJEpOFaOouBBjx47BzJkzEB5+SACpV69dEXMoAuQ//mjJ/+LF8/Dw2IdJkydZ9C30UAgmT5mEo8eyUHa6FAsXLsCCBfNFG2yHR/nZMyDwnF+Qh8GDB6Nvv75wdd2F9RvWoV//fvj++6v44cfvzee4+lIl0tJTBHB/KCxU5JOHy04X7HbdhZzcbDOt1LMA7ufMQl7+cURFRWLDhvVISU1S6K7j3XfbwtnZSfRVjsF332uLTZs34vIVjssanVdWXcDixQ5CnzV0defC0XETnnjicezc5SLacHBYBG8fr9p2fkByShI2bdqI3bt3Wejg/IVzuPb9FWRmpeOll15EUHAgCotO1J6Lk+D5GzV6lMhPS0/Fxo0b4Ofni3Pnzwrel69cQvyROHF+yEPKL2U+daoYc+fOwbJlS8yykGb79q0YN26sWHDk+eP9csaM6QgMOgD283BMNLZtc8bWbc6iH3FxscjLy4WPjxe++24Ntm51RkpKsjh/3bp1FQsnOTnZAsA/GBKMU6UlWLhoAWbPnoUjR+LQpk0bJCUnwpSYAC5ybNu+FcUlRWZdcOHuyrXLQsZvR36LPXvcQNlDQoLF2OU5W7ZsKXjfln2r66sck3Xno36ZpLE1tMZLz9fTkr+1fFkuQ1vobKEhP2t0er6eboosNbQ8dwsdFuK9995Dly5dhPENF6rt86qf8xPe3reboQF93sR5qDFw/wBMka2Ayo+Byk9qD8bl8QlQJeO1NFWkk3ks19IsU+uw3Jw2otfrq/TW2lTap9zk31Ab9WSUbTKsjZvrk5cqQ2MySxmlTDIt26hNqzr7STIr7TRVZpVeyKDJWKunrITW6NX9fjtwfzMuTjvP26KBOwa4Z+/VG7QE3Gg1yJdaWgrSLy5Bkc8/7YTnH3gGkz74Fjv6rIPvNzstLO4DG7S4v8HA/XbjzWkb8nFPi3uHcfMxrMdg4ePea8M+9O/cF0unOOB4WBaS/ePx6EN/x5ThE+GxyQ0em/fAc8tehLkfxGHfCGxZuRnfLVqN8mNlqMg93Thwf7zO4r686DRiI2Mwe+ZsRIRFiI1px44Zi25du5qBe/ok/ucP/xTAfbeu3ZCWnIaqc5Xw3OuB2TNmWwD32SlHUZCZB799vti/ywMblq/D1rVb4L/Hxwzce7l4wnXTTuzf7i6Ae1rdd+lYA9zv3eiKJx99Ao4OG+C+wRX71u2Gx4Y9CHD2hvva3Vg1fRkcF2yA9wZ3OC/YiLZvtDG0uLfm497sKmdrDJruKicQUYsOIHJBACLm+SN8rp9ws1QD3Fta3Nf4uG8YuPcd5AIB3Pc3AO7p477rZqz+cC66PPspXn7sBfTr209syFxRUSEAZk5YeF2owP3PHexq6l1R3kMYSuCeL0t8aSKASQvo//qv/8Jnn30mrM3vdf1xUWjp0qX43e9+J9yYEISlqw7edzne7AtFxiNQHWfUEXXFcVZeXi5A8CeeeEK4yunfv794aVfHGa9h6pluivhMI+jORSR+TUarPAL3Q4YMQUxMjLAocnFxwahRo8S1z82qmSaAzvNE63UC+MuXLxegTWpqKnjMmTMH9KsfHR0tNiHmec7MzBQu0EhLGrq9IdjOTYr5pUW/fv2EWy6+FHG/A44L9cc+UjaCyry2CPhzIZ186VaHe0dw0cfox/Zo0U/g/sknnxSb9dJ1lfwqQB1nRvV/LnnyviTBe+qU+ubCIuc4dAfIjYy5JwA3qKWLjeKyE7j8fSWu/VDdwHFJK9PTDdVlmU6vp43qqzSMq2kjej1Pp9fTOr2e1un1tE7PtEpzCZnHUrFh8zpMnDwOgQf9EJcQhbTMRJSUnTDrc8zYUZg4aZxIX71ejeS0BEyeOhHLVixB1eXzuHytEr16f43NWzbi1OlCcz2er8Nxkdi8ZQPWbViDA0F+OF5wDBerKxAccgATJ09AVnaaaMth8QKsWrPcoq4837l5RzFw8ADs2LUVOXlZiI4Nx8zZ0zF33mwUFueZ61yoOouktAThquVgaKDIv1BVjoSkOHwzfCgCAn3NtOR96dpFjB0/GqPHjULJ6UKERYZg7fo1MCXHW9DRVY6j00ZcUcZgn7694LRtM85UnDLT5p3IwaLFC0RfLfVcLdyGtGn7DgoKc5F3IhuLly7CvPmzhf4pC9t02uYIvwCvWn7qeapGakYiXnzpBcQdicalqxcEzeVrF0X77ENAkC+SUxNE214+Hma5Ki+dQ0x8FFq2elvwkDqtCS+hsCQfs+fOEPJImSsvn8NCh/nCRVJY5EFExYTjQJAvRo7+Fosc5uPs+VJEHg6D09bNCA0Lgo/ffkyZOkn0Pd4UA9c9O4V7JPbpQnUFunb9CrtcdyArO12EB4L9UH6uFHEJ0cLlES3y//FOK9CtUnzCYeze4wJPr724er3KrNs6uS9h+LfDsNttJ85dOI28gmzhVocum/oP6CdkqKNtbPzr14MRvU7D82J5bhpuT69vlNbb1fnraZ3eKK3X0dN6Hb1cT+v0etqS3tNrH7p07YL2HdqLhXY+1/keazSv+rk82+z9sGvgZmhAzrX1OROvJ0uL+wdhinoHqPoUqOqoHEzLPBmXadKpcZlW82QdyVNPyzrWynV6PS3rM78pPCRtc+rrdaRMUgaZ1tvQ05Je52ct3ZT6koe1OlJGKYNMW9JnmdragfubcWHaed42DdxRwD21IF9sJRjCiY58qSVIMG7sOLz+7Kvo+Hx7bOi6BJ6DtsJv2K4mAPfetRb3dJXjj8j5AQKcte4qhz7uw232cZ++JwEZ+0wwBO790pB7oMZVjticduhE5B86htyQTDhMXIBRfUdg84J1SA9KxOftO2LxlAU4tCcY4e4h2LxkPRKD6eM+1gzcn60H3Ne5yvF288LWjc4IO3AIRdmFwlXOHhdXZKcdha+nDwjIxx2OE8eI4SPw1ZdfQbrKaRy4P2Z2lRMXFoOo4Ej47vVGakwKvlu6BisXLIfXTg8zcB/tHwHHlRsxe8JMsbluoKs/2rzdGmMHj0LQbn981v5TOC/dhGj3Q/B29MDWpY6I2nMI6+asxqTB47B21moEOHqLTXzfadEKOx2c61ncNwbcJ2+NQdNd5Vj3ca+7yrFlc1rpKsfLwMf9vm6bsfPL7zD2rcFo+0RLvN/mPWFVS6COLisI7hDksQP3Dd8rjSZ5vIdwgkdwkoDqf//3f6NXr15iA86Guf38S2nhTaCQXyFwk9pJkyaBVvhyvElAlZNm6tb+q9GAtXFG10u0SOc+Cn/84x8xfvx4AYZLvVGP9CdPi3guHhHApzVvp06dBBDOF3xapy9atEhYX7MeLfZJR1/x9ENP90YE4iVwz/PFvRt2794tmuE9ghbtvr6+8Pb2tgDu169fL8B3EvIc88sTNzc3sek7reb5MkQZbQHu+ZygGyBa69PXPt1WcBM+ox9B+qlTp4pFM/q651cDpNXHmdSrEY+fSx77qL6EyjkOLe7j4+PFhtG0aB4+cgjSjiWgouoUqq+dvYeP8pvW99TMI3B0Xo/Va5fh5Klsw3ZGjRmOcRNHmcsqr5zBlm0bMHHKWOEHvepqOTy8d4vNYjc7rUdqVgIKio8h4vBBzF80G0tXLkJkbAhc923Hpi1rERIegA2b16B3368FXVHZccyeNx0zZk/BseOp5iM7Lw3Fp/OQlZOM/oP64FBUIMoqTqCoLBeevm74oP172O+7B6zP8XH2YjGOpERj7IRROBDiI/IuXjmNU2cLMGnaOCxYPAdBoX44fjILx/JSRb8nTxuP7bu3oLTiBA6G+2P1uuWIS4w095V8W7f9BzY6fgf2W47DbS6bMXfBTOGzPeNYItKyErBoyTwsXr4AIREBZro6ekexKWvlldOoulYu2pozfwamz5qC0+cLEZMQLtresnVDbf/TcOx4GrLz01FyJg+JabFic9rouFBcuFRm7ltJeT6HqBjIAAAgAElEQVRGjxsB3wMeSEiOxpr1y+Hh7YpT5fmC5lzVKUTFhuDtlm8KHlIeGeYVZQm9U3aZl5p1BMtXOWD9ptViTHBc8Ji7YAamzZyEtKMJOBQVhM3O6xBnihDtccPZL776DEnpcfD0cRPnmXo8W1mCzl2/wI7dTqLe9l1O8Av0FOek/EIR3L124+NPO+CJp54QYyQ6PkyMLY6Po8pYyClIR2FprpDxmxGD4eLqjPILxSi/WIxYU7jYH+H9du+J8VbTj5t3zUg92cP69+Tz1aU4lpcm9o74oN37YrGa761clOV7rB24/7k8xe39uFUakHNCdc7EeaMxcN8GqPrMxqMTUCUPW+vY6WzX70/R1Y07L1mm99Cr+wN2i/tbdcHa27npGrhrgHtaohF06PBee7zxyCuY1m409vZ3hO/Qnc0A7m+Qj/sGNqfNdE/EUc9kHN2fgmPeKcj2TUWOfw1wn+mbhO0OW7B8yhIB3BeEZSPeIxqLJszDhMFjkBmcjM0OG7B0mgOclm7G1hVbhFuZyP2HkHjwCNyd9mLXBhfhKocW92O+GYXVi1bg4P5AdHi/A3KTsxFzMBo7t7hgv6snCrNPYv7MeXBx2gFTTAIiQyIwafwkHAwMhpeHFyaMG4/x48bj/LnzIiQQRIv7zPRMTJk8BblHc1B9oRqhQSHYuHYjTmTn44B3AA4fisLh0Gh47NqHZQuXIcAjAOtXrIPrll04EhKLqIAIBO4LQHZ8FvZuccW00VPgs2M/Ni1djy8+6gSHqQuREmzCmrkrsWjyfOxctQ0rZyzFrFHTcXBHAFxX7YDDhAVYO2sVXJY6Y8awKejc/gt4rHKttzktdZ3lnoRMAx/3dJWTvK05wL11i3sduG/Ix73qKkfdnHZ/b2d49nSGe48t2NN1I1Z/NA8dn26Pf7zcEmNGjxZWsfRhbQfubb8PGk3y+LLEjTw3b94sANX/+Z//ERbN3LTzXv/xSwQCt7///e+FNfS3334rLL05MZafdXPCzIO6tf9qNCDBV+qFQLm0nM7KyhKgN8HpP//5z5g9e7ZwVyP1xrHIvRW4cEQf5jz4Kf2bb74pXOLQYj04OFg86/ilDX/M8/LyEoB9jx49xJcj5COB+4SEBAGE68A969BCnhb10uJ+27ZtwlqffJsL3E+ZMkX4uecGqtxoli53evfuLfxTHzt2THbVIuTze968eQK4p164MEFLfTtwX7OhMe/xXFzkXgDt2rdDpy8/xQ63zThdmY9zl4tw/koxzl9hKONGaebph1EdSaOXyXw11GmM0io946SReUb0armkU0OjOrJcL5P5aqjT6Ok62vSceOzx3I7tuzfhRGmmoZ4XLp2NJSvnKX0qRlpOHNZsXIrR44fjbHUhKi6dxHrHFZgxdxI8/VxxMMIHW7avxcx5k+GyxxGnzuXisOkg5i6chvWOK7F4xTyMmzwSpy/mo6g8G8vXLMTUmePhHbCn9nCDb+A+JKRFIivPhBlzJuFwQghKKnKFHJnHEzBq3DdYu2k5kjIPC52XXchDUlY0Fq+Yi7CYAOU8FME/1AOLV87F6vVLEBzug4BQT4yeMAw7925B/ql0IV/kkWBsd92MxIwoi772G9gTu923ouJSoZlnbmEqFq+chykzx8PDdxf2ebtgyPD+cPXYiuKz2Rb1ORY8fHfim5EDzTzKq04I2n6DeiItOx6xSaFYu3kFlq1eCO8AN7Me/ILdhTwpx2LxVddOiE8Jw9nqk4I/5aHuFi2bg5BIXyRnHRbXzIFQTxSX18hwprIAccmH0LNvN5CHfg3llaRjzYYl2LR1tVnmA4c8sc97B2ISQ2vzOH6K4envio3Oq0VbPBdunttEm0HhXhg8rB9GjB6MjNwjYJp6MGVEoexCPsZOHIH9/ruRcfwIPP12IzTK16yj1OxYrFrngH+0eRvRCQdxJDUC23ZvEuPDy6wHNwQc9EBs4iFxL5i7aDr2B7iC51teZ/McpqP/4F7Y4LTKQuaacuvjX9bX9VI/XXfNWNaR+XobelrSqaFOw7RarseN6NU6erlen+mG6I3q63lG6Zp2OB6PF6fBeedGsREz3d1xoZ3PPu4LYwfuLaYE9oRdAzZpwOidzhi4fwimqLZA1edA5ec1IeNVX9RPi/zaMpab05JezWN9LW1BX9uW3qaZxqi+gUx6G3razK+2PYu0QRv16tvQppkn+6v2WepFbduWNvVz0Uh9izZrZdD1Wq9fkqexzFmm99Gr+4N24N6mq81OdDdo4K4A7mmtQDC5d6/eePnxF/DFCx9h29dr4D1oB/yG7hLAva0+7unmJNzAx32UwwErm9PS4j7M2OJ+22GkaK5yMmhxv9eEzH0acO9XC9wHZiD7QBpi3MIR7hKMgkPHQOD+REQO4j2iELTNF+lBSSiMzRMb0/o4e8LLyR0ZYSk4lVKIosR8pIcnIzUsqRa4P4Nw71CYDsULv/I+rl44nXsKF4rOIS0uBZFB4SgrOIXS/BJEBIch3ZQqNqhNTUxBoN8BHMs8iuysbGRlZOFy9SUkHEnA2fKzArg/d/YcTPEJOF9+HlerrojNbDOTM3C+tAIFR/NQlFuIiqKzOFNQioSIeLEhbmzIYRRmFKA8twz5ybnISTiK0swinM4qQWZkKjyc9iDGNxK+O7wQ6xOF0qRCFMXnI2Z/ODw2uuHAdl+kBybhZFSu0EnE7hC4f+cKnw0eSPU+gr0rdyHeLco6cL/PBJ6DdNcjSNsVj1SXONw6H/fGm9NK4N7sKkfzcb+vhyN2fLUaY98ejFcffhGdOn4mrGdpfUsrTFoWSIDLbnHf8G1Vn+QRfKbuCCiuWLEC999/vwBU6Z87MTGxYWb3QCnHFq2y+RUC/dwPGDAAtKTmBqkSuJdW93bgvm5A6MA9dUWd8TnFsXXffffhr3/9K5YtWyZAc9YkyM+FkrZt2wowXeqToD+t1ukuh+5tdOCe45djdejQocI1Dsv5k8A9XezQIp+W/gQJ6H5n+vTpwnKf7nZsAe5pxT969GjhC599acjinl8R8MsC9pM++PnVBmV6/vnnrVrc8z5G1zt0U0W3TJSP7nPYNznO5OKQ1Eudtn9eMTl25FeF1AEXaTh2OnfujLfefgMTpo5ESk4UTl/KtR83UQcFZ9KQkhONxKPhKD6fZajr6MQDOJwUZFlWnYvEoxHwDtqNwopMlFXloKw6B0dPHkFQpCd2ezricHIw8k+n1tWrzkVCZhh8D7ohNMYbBbVlpy4cw6FYH+x032Rx7N6/BREJAaCM4fF+yClOxKmLx2r4VeeIeMChfUjOjhJtl1ZmI78sBdGJgThWmFDXbq3+yCcmJRge/jvgf2gvckoSwTocY+SbXWwSfcorS7GoGxDGNiJxujrHIv9EeTpiU0Pg7rdd8EzPj0XxhaMWNHL8ph6PFnopq64bz/mnU3AkPRSH4nyRURCL4ChPi/5TH3u8nEV/qEfv4N04Xpok+ir4Vueg5MJRUU69s+9JRyOQVRAn8klTVpWN3FNJ8A/dY3kuanVSdC4TcakHcSTjkFnuKNMBpOZGo/i8ZV+oP57ziCP+yCk2ITknCuwD2+X4ST9+WLSbdSIeKdlRyCtNEfoNOeyFtOOHcaI8TYSU9dTFOt7U9z6/bcgtScTxU8mISPCvp4e9PlvFmOE5iDQFIC0vxnzu2M+afoQgPj3U3A+pe3tYN+Zupi4KKzIQFueH7r2+wksvvwgucHNRnZvA24H7n9cz3N6bW6cBzpeM5kz1Le4fhinqPaDqS/th14F5DGSZ2qFX94fswP2tu2TtLd1kDdzxwD2tFOguhJvqvdXiTXzwTBvM/XASvAZsg++QnWbg3n+EKwK+dUPg6D0Iumk+7iORuDkKSVuihduV5IaA+1qL+2Oqxb1fGo4fyMDxwAzkBKYjJyi9xuI+vAa4L4jIRn7EMZyMyUVxfD4K4/JwIjYXJ+JyUZJ4AmWpxWJj19L0IpRlFJst7suOlaA8pxQV+WdqQPvCClSWnMf5ogqcKzqL6tOVqD5TiYtl51F1thJXLlzGpfPVqDx3EVeqLuPqpau4evkqfrj+A65dvSZCWtxfv3Ydl6su4/vL3+P7S9dwpfIyLp2rwpXzl1B9toYneVeVXhTtlOefRkXBGZw/cRbnC86iIu8MuHluRc5pIevpjGIUJRegJOUkChPzUZxYIID7U6aTKIw9jvyoYyiIysbJ6Nwa4D4yB8cPZSE7OB3Zgek4HpyJLL9kZPtzESQdOb5pyPZJxVGvZFhzlWMG7pvlKseaxb03Dk239HF/cIIHgsfb7uPeq+9WSIt7164bsOLD2Xjn4Tfxj9daYs7sOWZr+4Y+sZUTmpt8j7ir2EudEAQkMCYBVen3+y9/+YtwCUPgMCMj467q280QlmAz/aVzQePf//3f0b17d5HmpJhW3VwosgP39TUvXySkxb0cZ9wAmQA73Q498MAD2Lhxo9g8lhz4LEtOThaucaKiosxMyYMW8bRcp9scHbhnW0lJSXjnnXfEHi8E5vkjcP/hhx+KDWHpFmfQoEHC9Q03OqS/eoL2pLEFuKfc9Kv/6aefCgt/+rG35uOeLm84Pt5//32x6eO7774r/NtzQYL+9jle9B8tymlNTr1wnBH0J1BNnUjg/l4ZZ3LsyC81qANuHLxw4UK88srL6NW/M/b6OaHwfApKKtPtx03UQdHFNKHnk+dTUFyZZqjrE+eSwUM/F6yTfzYRxRfTUFyZLo6iC6koqEhC3hkTTp5LBvmr9WSdExVJ5jLWZZp19IPtkseJimSQN2klP8YLziYJ+c3tk5Z1LqSa6SQ9+VCm/PJEFJxNtODH+qxD+XSZZRuSjwzZ7xp+JsGzUJNP0jHkWKZe1Dwhz/kU0XfWlXqz0EG5qaY/F9OErllH14Hsr+SnyiH6dTG1pr/auaAssg/st5SN/Civ2g7LJH/ZHmmYJ/NluwxlGXnw3DKPdIXnUy30Lvnml5tEPmnI30IHHBfUQ63+hHyaro36IftjD+uumZuli6KLqUjIOogV6+bh6WefQO8+vcS+L9w4nov1fP7ZjSH0WYE9bddA4xrQ3+nk163GwP37QFVnoKoLUN2lNs50ZytplYZxLV1dW1fUV+KyjXr0an1b25R8mylzvX5KfmyfcVUmoz6q5U2VWbahtmnQhi7DzZZZtFfTryxTBztw3/hlZqe4izRwRwH38oWWL/B8qeULvbDmCwpG+/bt8caTLTCkZW9s77EGPgN3NBO4p4/7prvKObI+HKaNEUjcHFkH3Bu4yrHFx/3xwEwBQueFHLUA7mllXnj4OIpi81AcX4CSIydQYjqBU0knUZpchLK0YpxOLxEbvJYfLTUD9+eOn8G5/HIBmF84WYGLRecEcF9ZegHVZZW4dKYKl89W48q5SwK0v1p5BdeqruL7y9dw/cr3+OHqdfx4/Qf884cfgX/WbhL8wz/x4/c/4odrP+D6les14H31VVyrvIKrFy4LXuRJ3hK8ryy5gIvF53Gx8BwunKgQ4D1lozufiuwylGeVmjenZV/KUorMwD37yj4Xx+YLHQiL+8gccDGjIOwY8kOOIu9gllj0yD2QbuHj3gzceyQh04rFffNc5Vj3ca8C9yGTPNBUVzn7+26FZ29nePR0wubPl2Hwaz3xxH2PoXfP3gJo44Rft9TRQVReL/afpQbUSZ68h/CFiX7FaSlMNzm0hCZIZm0jTUuOP+8UrX25ySj9k//yl78Ufte50SgtpAncG+2r8PPWiG29059V1JVcBKEbnD/96U/CdczOnTuFFTy58rnGl3i6iOG1rf5YPyUlRSzYnTlzRoDx1L388XwQ7Kc7FT4X+aMVH/3nsl3W4aIAzyW/mCDQL+8f/HKH4DDpuQhOWv4oD3lyIYAW31zc4ma2BBkIwOvXB+Wh6x0C91xsoKup8PBwcbBdbnbLukb3Jb5kSVdVv/jFLzB48GDRNmVif8hbBe6NeAih7/I/fdyw7/xKggsvnOO0av0mHFZPRVyWPwrOH8GJ8wk4cf6IiNeka/IYrzlYnqCU16RlHYbysKxvWUfnZ1nfuA1Zp0bGOjnV9izbbIrMdW3W8KO8ljJLGevaqOEv6Y308lNllm0a97lO5hqZboXM9duQfaS+auRU9VIzHup01hyZa85DQ3qu09ONGH+Ny2zZT/ZJjjXZft3YkXqRejI+l/Xb1MefrC/5yTYb0ousY63NunK231SZ686llEGXWcrIdmpo1LFRV7+m3Dgteaj16/jVl7mOvoZfXbqmj2o/a+J1PGr0pJ/Lnyoz+Vu2IfVufC7rjwVd5qySSLj6bECPPl+ITZS58Tyfx3zWyq9mdeCez4Kf63PuLn9M28W/gzQgrxNpjMW5It9b6gP3j8AU1Q6o7gZUda09GK9NVzNPphUaQa+nuwKkN5d1q0lb8DVoQ5SrvJQ2yUvIoPKtLZcy6zJK+np8ZT9UGYxklrKwbRlXZLLoTy1Pc5taG2Zd2CpzQ/WlDAYyy/PF0JrMVvVUv80s00fo1f1hu8X9HXRN20X5aRq444B7vrzz4M2ZIADBjNmzZuPZx5/GFy99jCWfzoRnP2dD4P5ArcV9oLC43wtuGHpwogdCJnsidOp+0C/5oZneta5yuDmtnw2b04Y1aXNa6SpHbk5r5OP+eFAdcK+6yrEO3Bc2C7ivksB9eTOA+x8lcH/dKnB/SQXuyy6iIeD+rALcn8koEYsQRsB9kQ7ch2cLd0KWwH1GPVc51izu01zihDuj5gH31izufepZ3De0OS33YfAd4gK5Oa234ipnV9d1mPP+BPzj0TfwxquvY/ny5WLCX15ebrbUIehmZP1sn/TXuB/hyxGtlAmS0nUHrVc5sSNwLwFVgowjRowQLmHoxoQuTOj3/l7/UT8EX19++WX8+te/xkcffSQ28SWQyzLeh6lHAsYEealjWnDTPYsEkO8FHfKZxA1W/f39sX37doSEhAhLeqkjhrxO6XKGPuu5QPT3v/9dbBLLa/lu/3EMcJNc+qanW5+m/qgbugJ66qmnQOCePvEJ9qsLRNQxvzxgO/TXTx/9BLXZ9s/hx/u1fPlkn3jw5ZNukObOnYOnn30KQ0b3hGfIJmScCkHO2Ujk1h6MNyXNeiq9rWm1jhqX9dU8Na7KqcZVGsYbSss2ZH1b0zpPvb5erqb1NljWULlO39y02oYal/zUPMbVtKRhKOMNlUsaSW8trfLQ2zRK6/zU+tbakHV0fpJe5aHGZbmsL9MN0ehtNJaWPPU2GkurMqhxyU/N02WQNLINvVxP6/TNTesyyfYlP71cTUsaWedGyai2ocZle2qeGlflUOM6jZpmXE3LNmR9W9PkkX0mHCEmN0xfOAqt3nlTfO3G+SjdyXEexa9meZ/nnJRzJt73+RyQgOTP4dlm74NdAzdLA/I6kXMnq8B9r7/DFNUBqO4BVHcHqnj0qD30NPNr81R61hNppdwqD7V+U+hlG7K+lja31wBPVeYG+2mlDat91Nu0Up9tWvBgPXnIOjwPCr/bJHNW4sfo1f0RO3B/sy5QO99broE7BrjXX2o5waGl4L59+9ChXXu8+siLmNR2BFx6rIX3gO02APf7rAD30se9JXBv3cd9A8A9XeXsiAXdsdCfOv2qS+C+3ua00sc9XeU0GbhvnsW9AO5PV+JSc4B7s8V9I8B9uW0W9zpwf9qKxb0FcB+RgwIbgXtrm9NKVzkE7pOcDyPJKRqJjlEwbYxEwoYIsX9B/NpDiF8TiriVIYhdcRAxy4LFfgfRixsC7r3FYlDIFE8cnOQhxlrw+MZ93IvNaWuBe4/ezljTcQF6v9oZTz74OIYOHiIA6OLiYsMJv1zUkhMZhvf6jy9BdAdCUP6NN95Az549xT2Dls0sk4AqgXtuvEpf7gTu6QbEDtxD6IcW2i+99JIZuOdmtXzh5IumBO7pq3Xy5Ml4/fXXBbhPC2EurN4rP+qBgHLfvn2FrujWhgsetBhnmRxnBO67du1qBu737t1rtnC/m3XF5zEXbbghLV3wNPVH4ILA/ZNPPimA+z59+gjgntepXPzg/e3AgQPC1VDLli3xxRdfiEVMjsOfw89ojsOFCS5SfPHl53jt7RexYfc8xGTvQ+bpIGSeCUZW7cG4npZl1kKVnjR6Wq/XWBuN1dfbaIyfTm9L+kbIrPdDTesy6+3ZIqPKz1p9lUaNG9E31ubNklmVS29DLbtRMjfWRlPbbIyfkdx6G3par9NYG43V189tY/x0elvSN0JmvR9qWpdZb88WGVV+1uqrNGrciL6xNm+kzEknfbDOZS6+6vExWrd5B9wAnl/V8Wtx+dUbre3V55wE7n8OzzV7H+wauJkakO+7jQP3j8IU/SFQ/XXNUVUb2pqWdCLsCbC+ykONk0ZPG+WpNIyraYv2foLMZp42yGxzmz0b1qPepsrXXKbp35CmOTLX1qnHz1jmrMRP7cD9zbxA7bxvuQbuCODe6MZMCz1aos2aOQtPPPw4erzyBb7rtAAefZysAvd3tI/7WuC+xsd9ncV9PjenrfVxb2lxn4+SIwWKq5zCJrvKMVvc2+Aqh/7tf5Sucn78p9ic9ka6ylGB+9OGFvcFwq+/bcB9uoWP+2NeKTAD91Zc5aRsixH7EjQFuD+82NhVDr/a4Ncb/IpDAvfN8XHv9vVGjH9nGN5+9HW83uI1AeBwE1VakBPQIigoJ/wEoQlsyQm/HbSvuVdSL3QLQt/s//mf/4kWLVoIX9p8aVKBe7rKmTRpktiYln7u582bZ3UjzVt+F76NDRIUJSD9+OOPC1c5n3/+uXCHQktoFbgnzZdffinA/cceewx79uwRY/M2in5LmyZwLd2Z/Nu//Rvo193Dw0MscKgWQLS0Iyj9v//7v3jooYfESzwXoG/Ej9c87w28JzTlR9n5xQSvh6b+2KbsH+8/1n4sIzjPkHUYV7804CIP/f0/+OCDArjnPgB0y8N7nAQ0KB+/ZqCPfm5i++KLL4o5AOW/23/UCe/d8uWTfeV5pDuFqdOmosWbL2Hw2K7wjd0IU5EHUsq87YddB/YxYB8D9jFwJ4+BUm8EmrZg0OiuaPmPN8Q+Mdy7ha4uz549a3aTw7kUn2O876vz+Lv9uWaX366Bm60Bzp3k/InXjpyPco7Jea2fnx+ef/559Ov5KExRHwHVvYCqXjUh42pa5BPg1fIljSxX61cRKG6gjhEvyU+ERvWZVyunbEuG5joGMqp8LeK1/Jhnrm8gs2zTTFdLL9IKD1UWwY90zZTZaptKe1JmtqHLZq2+yFd4WJE5K7EjenX/u93i/mZfqHb+t0wDtx24lzdlhrwpc2LDCQ797jo6OuLD9zugxYMvYkGHqdjVYz28+m1rFLivcZVjbHEfNrOpFveHhFV2gu7j3ukwkg183NPinn7WpascfXPaXLE5bQ1wT/cvwlWOIXCv+rg3dpVTfqxM+I+35uO+KcB9PR/3wlXOD/jhmnWLe1t83FfU+rhvHLiv8XGvAvcnI3NwwtDHvaWrHLOPe3frPu4J3NtmcR9itri3BtyHzay/OW1DrnL8al3l+A5ygbC4778d+/s4Y9kns9Dx2fZ4+ZmXBKhMH9OciNg/r7X9/sf7BTeZpQX0H/7wBzGBW7Jkibh/sIygICd4dLlFsJ7+7QmqTpkyBWlpabY39DOlJHhI90LUCzcN7dGjh9iclkCrBO45UebkuF27doKGVtMEsQlC3is/6oCLF507dwaB+7feeksstBFIV18kuMkrxyIXh/72t79h3bp1wq/8jdATz0eHDh3EwkpT+BFIeOGFF4R7o6bUIy0X0HmdcEGCXwJZ+/G+RR/29KFPfTg5OaFTp05mcgL0q1evFr7/uZfCuHHjwK84eG1K4J71NmzYIL7q+N3vfodXX30VXMjk3OBu/sk5jgrac45Da3uOj48/7YC2H76BLV5zEZmzDQkle2Aq2QuTCBuLq3SklcdPzZf1Gcq4LotsS+ardHqZTKv8dHo9rdaRcTVsiF4tayiultnK24hO56OnZZ2G8hsqU+tLOhmqZTKuhjqdLNPzZZqhjJNWjcu6Mr+hMpVWxnV6mZahNTpb8lUeDcXVMsmX4U/Nl/UZynhjfFU6a7Ko/HR6PS15NCdfrdNQXC2T7TXWTyM6nY+elnUaym+oTK0v6WSolsm4Gup0sqwun/fpI0WumLtmBNq2fxOffvoJdu3aZd5HRlrb8xkqn3EqaH+3P9fu5meyXfa7RwP6/Emdb1sA970egyn6U6C6j3b0Bap5yHw1LvPUUC/X66u01uIqD6P6arkRD71cT+t19Db0tE5vlFbbMKqvljdW36hcz9Pb0NM6vVG6cZmyEjuhV/dH7cD93XPJ2yVtRAN3DHAvX2p5U+bLPN0QDB08FK8+/hK+fvkLbPlqOdx7b2kCcG/dx31zNqetB9w7H0YyXeVsb9hVjgVw758GAdwrrnKExX1YNk5E5MC6xb0xcH/WFuC+UVc5182b05ot7rnCbfZxf2M2p20OcE+dNNlVjmZxTx/3qdtjceN93Fu6ymnK5rRcfNrZYx0Gv9kTbz/xGj796BMBhNJ1i/Rtr1rb85qwT/iN72TUC33aE4j/4x//KCzH58yZI9zgqMA9N9ukmw9a/HLj0FGjRgng0JjrvZPLccYNR+lC6Le//S0GDBiAQ4cOCTc4ErjniyddvrRq1UpYS9O6hS5N7qUfxxItxPv374//9//+n7AGp+sXvjioLxIEybkJ8v333y/A+8WLFyMvL8+qqvhCT7CbfnC5bwDHMhfu+CNf3g+YTwCbcfqXlwtOBH9p2UerbYLq5MWXHNbjwndWVpZom5/tOzg4iPp8zvJrFPIgT55jCSAwTlm5gCi/WJGL6KTlV0D8EoO+/ikz6eTCBctpRc+Njdk2XVNx4V3+2Cfqgpb0v//97zFjxgwhtwrcM869J7jIwK9n3n777Xob5Ep+d1NI/SiaCr0AACAASURBVFLvPDiOeH64YBYREYE+ffugZZtXMXjiF/BP+Q7RBc6ILdrexGObFXpb822lsyaXWl+NW6NvKN9afT1fT0ue1vJluVForY61fJ2HNTo9X09LPmq+GpflTQltrW8rnbW21fpqXKW3lq/SMP5T6Wytr7ZrrY6er6clD2v5sryxUK2vxhuqZ41Oz9fTkmdT82U9o9BWXrbSGbXBPFvqW6PReVqj0/P1tORjmR+Z54S9UUvRsVsbvNPmbWF8QwMRLsjyecdnJZ9pfK7yOcp7v30efzc9ue2y3gkasB24fxym6I5AdT+gql9NyLg5TZBXzW8gbVhfrcu4BJplG1raoi29rpRRkcGwTaVc8NPbUMr1+obta/VFHYWH1Tqyj7Lfalrvm85Pa1NtwxaZq7T6hjIbtVkjV1biF+jV/TE7cH8nXMx2GW6IBm4rcK/fkDmx4SSHoIDDokV4v9W7aPPY21jQfjLcemwUVsq2WNwHic1pjS3u6eYkbLYvwufQx72/DZvT0uI+HEfMFvdRSNoSLdyuCOBe83GfvicBGXtNyNyXKNy3mIF76eM+0NLHvW3AffN83Fdyc9rmAvdmH/eNAPfSx30TNqc1dpVDi/t8FKub01oF7tOR65+OHN80ZPukwsJVzl6T2GeA+w1w34FbAdyHTPKArcA992fgAtTij2fgvcdboe1bbTB37lwBshlZ2xPkkRN+eb0wtP9qNEAwjBtaEpgkIE9gniD+8ePHhd4IZvLliTQEErlhKDcOHTRokABi73U98gWTVmIEUwnecx8AAtSqxT1fQOnChP7taZX/5ptvis1Z7yXd8YWbFuIjR44UwP0TTzyB9evXC8Cc1yifWxxnBMtnzpwpxuGf//xnAVAT1Lb2I0C+Y8cObNq0SSzeeXt7iz0aCMgTFKe/XFqh020cAXG6eyIoTqCeXwBwPwJu8uri4iKs4mnlx4N7OLCMX6PEx8cLUJ31uaku3RwRNA4KChLnntcKZWQ+v6zgngdyA14uKPDaYfsEJLioM3/+fCED61M+0nNxoHfv3uIrBG7Kx684Zs+ebe423QVxQY3APb94WbhwodibgjqT1oiUm7yffvppMRbbt28v2jYzuQsj8p7N+xTHEO/lBO15LtjX1u+2xMddW2G12xgcyluPiBMbEWk/7DqwjwH7GLCPgTt2DITnb4DnkSUYM68HXnr9afTq3RPu7u7iuawa3zRkbW+fx9+6B7p8Dt+6Fu0t3SgNyHMn51DqfNvS4v4JmKI/A6oH2A+7DsxjICvxSztwf6MuxtvER94D7M/MmhNw24B79USoN2S+yNNqsU/P3vjHM29iwGvdsaPLWnj2csL+PlubYHFvDbj3qQXu/ZoA3IehzuJeA+5vicU9gftm+rhvFLj/HtevXodtPu6v4VrlFVy9cBlXzl2CLa5y6ManIvc0Gre4b8jHfTboVijvYBaOB2aIrxZy/NORbQTcW7G4b46P+6ZsTmuLj3ufQS7Y338rtnVfg/6vdcdrj7+M/n37CwCNQI6c8BM0JbhDQEuC9rxG5DVzm+6dd2Sz1AtBToKoBAR5jB49WgCR1B11yJcn6tfV1RUEXAlQf/311/cc+Gx0AjnxpYsTWjjTvcvEiRMF0KsC9xyXpHn55Zfxq1/9SrjMoUuYe+nHccZNkLko9K//+q/Cop5fcBCkVl8kaI1Oy/JHHnlEjDOORdaz9qOF+5gxY8TmygTNCXjT1ROBcy4CDBs2DBMmTBDtEOTnOeBmpoGBgaIOQX/ypyU+rdV5Xgjqf/TRR9iyZYsY9wT4eV2QH+Xn4gMXZ/hVGxe8CMpzE/hevXoJvgThFy1ahOXLlwveLKdrJAL8HAd018NFDB78QkPuF8FFH4L49O1Ltzj8QkP+2E9ubkx3VvT9v2rVKvArGAnc0yKR4D4t8XmNUl5u8kv93s0/ec/m+OH9iGOFiyH8SqJz5y/Ruv1rGDWvM/YnLUBo/ir7YdeBfQzYx4B9DNzhY8A3zQErXL/F622ewVutXsfyFcvF85XPaBpD8B7PZxsX9HnP571fncPbAYhb91SXz2AZ3rqW7S3dCA3I88brh8YP6nzbErh/Eqboz4FLg4DqwcClwUA147WHtbSgr61DWpmWobm+ykvS17ahtqnWU+OSj9oG5VTTOr0us6Bn36QsjdWXdLJfpNfr1KalfJI3QxHX6OvVV9oQfVH4metrMss21L7r7ZvLyE+TQdeLTJv51tFnJXVGrx6P2y3ub8TFeBt4yOtfDW+DGHdUk7cduJc3Y05s+PJOwCgmJgZD+w9Bn3e6YclHM+HR0wn7ezvfEOC+zse9JXAf5XAAh5cGCf/mMcsPInZVCOJWhyJ+rRUf93SVczf4uCdwb8PmtBY+7s2b095KH/f1gfsb4eNeWtw3x8d9tJXNaa37uHcH91c4MHoPDox0Q8AIV/gP3w3p495n0A649dmMJZ/OxOsPvYwP3+uANWvWCJCZ1rVywi+tdIw+r72j7h53gDC8mdMSeOfOnQJ4pkUvXXbQ0lgF7gkmEhh97rnnhNVvx44dQetm1r+Xf7SmJlBMn+IPP/ywsIrm597qSyeBYAKxdJHzH//xH8LPe1xc3D2lNj6ncnJyhJU0gXt+tUFwm/pTXyT44k4QneAzF0P69u0rAG5r44yANoF5Aul0RcOFJlrUv//+++I5yEUAWrXzx8U8+n3nFxIEvlu3bm0+B7x30GKeVu0EwAmiR0REiPLY2FgzcD9r1izhJoplBOIpL9slyM9NdeWPfeX1wetKBe4J8I8dO1aSiUUAfmFAN18E3enWh/ct3tdU4J5jasSIEQK4f+qpp8TXL6RV73XUJXXx6KOPiv0BhgwZIhYhzI3dhRGed3WOw7HCLwuioqLQ4+uuGDS+E77zGokDOYtw4LgDDhxXQxmX+WqaeUb5pJF0MtTp1HxZJkO1TI3LchmqZQ3FZZkMWV/ykHE1tEbXUL5a1lC8oTIpA2kknQzVMsat5Us6GVqjY75a1lBclsnQiDfLZLkMdbqG8tUyNS55MGS+WtZQXJbJUPKRaRnq+XraGh3z1bKG4mqZ5M9QzWdcpmUoaWVahkb5apkaV9thvlrWUFyWyVBvU6ZlaI2uoXy1rKF4Q2Vq+5JOhmoZ48xXy9S4pG2Izqi+5CFDvb6aL8tkWyo/a3QqTV39gJxFcDo4HgMnfYy/PvAnjPh2uPj6zcj4hs9C3vPtLnJuzsObz9cbedwcKe1cf4oG5PmV8yh1vl0fuP8SqB4CXBpSEzJO0FdPi3yFhuVmGgN6AQwr9Hp9vU3Sq/wE8KzWV8tr8830TBuU6202R2aLNtQ+M662SeCbxw2QWW2znsxqG0ZtajLqem5UT4ORldQVvXo8YQfuf8pFeJPrymv8RoQ3WdQ7gv1tBe55I+ZBgI0Hb8jVVdUoLipGsFcg9s7ZDvcBTvCsBe69bLS4b9xVjk+tqxw/G1zlhAlXOXUW95E1rnIa2Jw2Y58Jme5WXOUom9PmhRyFcJVjuDltPkqOFKDEdAKnkn6ij3srwP31y9/j+pUb5OP+hrjKKYC6Oa11H/fpoMW9oascA4t77kPQPB/3QYhadACRCwIQMc8f4XP9ED7bF3S3FDrdC6FT9yNkiicONuIqx3foTvgMccH+AduwsfMS9GzxFZ588HGMGjlKTPgJtBFYpksSaW2vg/a8TnhTs/8sNUCdUHc+Pj4C7Pv1r38twFIChSpwTwuoiIgItGnTRgCqr7zyirDSJxh6L/8I6tJq+je/+Q2effZZAdATtFWBewKqtMzmprQE+OnnPSkp6Z5SG8cZrb9pZf8v//IvYgGDrmAIPvO5Jb/sIAhOtzUtWrQQXye88847woqe5UY/CdxzvBLE5pjlOaF/dwL4BOj5pQh/Ergnf8qhAvfcq4CucehKh/cT6VKH9SRwTwt3fj3BhXHW//TTT/HZZ58JgJ6W+/w6QP7oro7AvXTTIy3uuR/C1KlTJZmow8WAxoB7Ly8v0R4t7ulyiW4F2IYK3POLAIL7tMjnIhL7wBezu/XHMaPOcaS1GO/xHEtefnuxL2IFvNLnwjd7lv2w68A+BuxjwD4G7vAx4GaajOnruqNV+xfw8isviYV1Plu5CM5FWT6L5XONcwM+0+3A/Y19ivPZau2Qz1xbQms8ZP6NldrOrTkakOeC51POoaRrSkvg/imYor8CLn0DVH9TEzJ+aVhdmvnVw+rKJJ3Il/UUesGL6do6kk7wraVXeRjm19a3oKttQ+WnlrM9i7TSH8N8hb4hmWV7Kg+zzAoPWW4uU/QoeYh2auUSeVp9yUOnl/nivKjngnEDPcv6sp4a6nqS8pplG4aspG524L45F95NriOva6PQlnu3pDGqr+bd5G7cFva3Dbhnb6Vy5QkgWEnw8nTZaRTmnsSx0HTEfxcKv292QYD2jQD3B751Q+DoPcLqOWicNVc53gJ8DZ9zAyzuuTmtNR/3tcD90f0pOOadgmzp457AvbI5bcGhYygw3Jy2ACVHTtQC9zfXVc4PV6/DwuKekyKzj/vrAtz//vL3+L76qoWrnEtnq3GpGT7uz2SU4HRaMcpSilCaVIhTppOir/RxbxtwnyGAe0NXOVZ83NtucX9QfHXBry+a4ioneII7gsc3bHHv2mcjprcbgxcffBYfvPcBtm7dara2N5rwy8k+rw9eK/afsQYIytNFB92T/OIXv8BXX30lQE/eTySgypcpuqegJTJdwtCqlwAkQel79ceXSgKotIzmgkfbtm3FJrScDEsXJqTh1wvTpk0TYCp94XPzVbpTudd+/LKD+yT88pe/FOOMeuAmr+o441ik7/cePXoIcP+ZZ57Bxo0bBZhupC8C9+RDkJx6532AfugHDx4sXMbxSwcC8vxJ4J4W93QNRR/wBIF5f6CPeubTVz6Be7qlIUDPnwTuuZksgXcPDw9hbc9r5uOPPxZucr777jsBrPOew3sNfdlzgYCbEKsW96zPsSB/dPPDBQwJ3HPRh/pQLe6ZlpvO0u9/p06dxBcGXESQAAev0yNHjohFt/vuu098scAvQfgl0t38szbHKS0rRUFRLrJKInG4cCt8c2bD8+gkK8dkJV+Nq/R6vp6WtHq+TMvQGp1Rvl5H0uihNTo9X6ZlKPnoaWv5ttDZQkP+TaXT6fW0NZllvh6q9dW4Sqfny7QMJa2etpZvC501GslThtbo9HyZlmFT60t6PVT5qXGVTs/X05JWz5dpGVqjM8rX60gaPbRGp+fLtAwlHz1tLd8WOltoyL+pdDq9nrYms8zXQ7W+Glfp9HyZlqGk1dM1+e4ZE7HKewC6j2iNl1o8K56FfM7yq0RpfCONHvjcs4P2N+bpLZ+jaihxA4acPxA74HyB54IuC2lUQWMAGkXQ0IQh57LZ2dli3k8Xm/KLQwLB8n1LbUON35ie2Lk0VQPyHPA8NwzcPw1TdBfg0vCao7o2tDUt6WTI+ioPNU4aPW2Up9IwrqZlO2qolzeWtmiTwLnWhl5fbUvGdRqRJoDegB7NdWrblLQMzWWa/q3RkF6to8bVOmpcpxFpY5mzknqgV48n7Rb3Tb3wbgK9vJZl2NA9nO+UvIcTa+C7K99DieHQNax6D+d7OQ3m+H7M5y15Sv56eBO6dFtY3lbgXvaYyuUNuercBRSmHUN+TAoqTpTi/ImzoLuU+DWHhNsR7/7bG/Rxbxtw72MI3Ec7BDbdVQ6Be83HvdycNksH7n1TkeOfJvyz32nAPX3cWwD3Zlc5P+KHaypwb+njXgD3Z6rEBrhVpRdRWXIBF4vP42LhOVw4UYHzBWdh5OOewH1ZPeDe2FVOQXg2Cg417uM+yzMJWe5JyDSwuE/dHouUrTFiQ+Ekp2gkOkbBtDESCRsicGRdmHCHFL8mFHErQxC7wlbg3tLivjHg3nvwDqz4fA6+evkTPP7wY5g+bboAl1Vre/uEX94RmhYS/OPEnFbKv/3tb4VVPf2AE6znhJ43dAKcBEmdnJzw+OOPC9chPXv2FH6+ef+5F38EirmJKTfspSU0Lenp95wPQRVQ5ZcKAwcOFO5h6CKGoOzd7nu8OeeboDoXOmgRzk16u3fvLkB6uchBnXHM8QWRG05zLwUuEtFynBMOo3HGMUnXM/QnT/CcBxcHgoODhWseI+CeY5sbztJVDy3iWYcW9LTMZ9vWgHtOeEhDn/Q8h6xH4J2W/dzglnJykYGufgias690p2MLcM/JE/3f88sM+r4nUM8FIfaZY2X48OF44IEHxFijOxy+UPNFW44zXqP8aoa++am3l156SSwwkObn8JNznItnKlCYehR5cck4f64MFZcKkVsRjaiTm+GZNRl7MkZjT8YocbjVhtbSzG+IhmVquUzreZJ/Y/wknV5fT0s6I35GeXp9NS3p1Tw1LssZykMv12lYrtKocUlrlCf5SxqZ1vnJcpWHGpflsr5MN0Sjt6GnjXg0hZ+1+ioPNS5l1/PUNOMNpevaHGn13BnVN8pT5dHLZZkM1XIpgyzT06SVh6QxSssyvb7Mb6jNxvgZ8WyIn1GbjbWh82usTSN+RnlSlsb4STpVDlv4qfSNtaHzk/QqDzUuy6VsDJ1ihuKb+e3Q+qOX8PEnH8Hf3188IwkYS+MbPss476TRgwSDJZjwc3iW3ao+8JmpHirIQ4CGRhIE6Dk/4Z4/NDTgfIhzKW78TsOcUaNGYdCgQcIggHNYGu5wnkOXgpz7rlu3DvzakF8Uck7F+RjdDnLRRW1PlUPGb5Ue7vV2pL55PhoH7rsCl0YAl74Fqr+tjY+oiTNtlCfpWUccan2Fh87Tgl5pQ/CrTZv5GfGU7ck2NPmkXA3JLMpk/aa0SXkMZK6XJ2WSbegyyzZr+RnJbKEnnZ+RDDqNbLMJMittZiV9jV49nrID97fhRiKvXTWU91U+H/m+TICe+A3v4TQ+4zvoihUrzPdwfglOt6l05cp7OL/K5l58NBjjeyrfV7knHN8faaTGd1bew/kMlm3JUJWD8bv1d9OB+3/+8CMul59HaVwGisKTUBSWaD5KolNxqawC169+j0sXq1BoykDsqt2InrMFBQdNuHDyDC4WnUPh4TwBqtKa3mfgDngP2C5C3yE74Td0F/yG7YL/CFcE2GhxHzbbF7rFfbOAewMf9wK432eCBO6PSYt7Avd+tcB9YCaOB2eiYVc5P93ivrL0AqrLmuHj3sLi/gerFvc3dnPaE9At7q37uE9HruYqRwD3HjcauDd2laP7uA8xu8qxbnG/s/d6DH+nn9iQlv6r6W+dk0S5IS1vYPqEX0767+YbzK24MfIGTV0SeKa1Ln1oT58+XVjT0JKGB4F7gov0JU5A8Y9//KMA+Ok/nPXvRR3Twvmbb74Rixj333+/AF1pQc6xKAFV6o1gLzckpX97gvzcQJXg/r32I0DPRYwPP/xQuAx64403hOU7Le34oicXiOgChhMQftVBP/ddunQRL/ik0X8SuKdLHG4cy5dK1uWLKScfnIzIjYBZn5MYysC43GyWG9gSxCcAz8kQAQROZPj5Pn8MuUhFCzOC93xZ5USIm9TyhZXXBc8z9y3gIgL5EdTnIgD7xIkQxwoXBDgx4ouu/HGRgQsJ1A1foMeNGyfcf+3du1f0hfcwbo7LPSW44SxdCDk7OwswX97zeH1SZi4m0IUVv+rgPZKysuxO/3HRu7qkHKdi081zGznPKY3PxJVzF/HD9euoPncR+ZGJiF2xE9HzHVGcnIKLF0pRcfkkcioiEJK3Evsyx2JX2jfYmToELrVHTXwwXFJ5DBFldeU1+XXpmnp1dSR9XX0jHtbr29LmYOxMrTlUGWvittS3JnON7DV6kG1IvTAt43p929pkfcptTWbm17VRQ1eX1tuUem5IZlnWUJuShvzrt2kkc02e1IU1mY3abL7MdXrQZdTTsg3L9q3LrOuV9aROauL19aKPDZW+rr51mfU268ssZVB51MX1+ra0KWUmbR297JtReyyz3qaUWfadMsk2auRruH6dDHVt1MhWl5ZtWJfZso369WW/SCfj5F/Xhi6zLGuoTUlT02dLGYxlrt9mnY7q6qttDsaOlEGYu/sLvN/lebz9zuvg3i58BvO5yGc1F5n5HOQzi89nu7V985/cOsBC4IU65TyBX8maTCYxN+KcgXMObmRPN5h0w8e9mGicwzkt5/l0A0lDC4Y0UPnrX/8q5rF0Dcn5CF0Ofv7552I+RAMIfpHIeQ6tPbkgw/PJeYwu0734ztD8M9r8mlLvHAMNA/fPwBTdDbg0EqgeBVziMdIybZE/qpaulkbQyzpafcFH5lmh0Xlb8FPaEHRKWpdRpmWbOt969a3IY+Yjy9mm7ENt+xa8FZn0NvS05N1gfdmu1qaFDLLM6Fwo8og6TZS5tk5WUi/06vG0Hbhv/iXYrJryumWoXrvEDgjW832ROBiBdxpzdevWDe+99x74Xv3CCy+Y7+E0FqRBJr0p0DOAvIfTwwK/aOe+b3RJyy+5Cepz4ZZ7sfF9mF+A8/2WGI+Kp6myNatzt7nSTQfur1++isKQBOz/cCxcXuiF7c/2MB+ubw1Cnm80qk6V41RqDmKW7MDuNwfA5aVeiBi/FidCTKguOy/A56LYPMStDkHAKDd4DdwOrwHbQStm+g73/WYn/IYTvN+NgFGuODDaDYFj9yBw3F4ETdiH4EnuODjFEyHT9iNkhhdCZ3nh0GxvhM3xRfg8P0QsCEDkogBELT6A6CWBOLwsCIdXBCNm1UHE/n/27gNcr6rMF/i9dyzPM/fOzJ3ieMdx1FHHRglVeu/dsY0mBASlKB1RiiBFqoCgNAUEgUjvvYROSAIHSIIcAWnSrahIQhKc9z6/lW8dVjbfaTlJTlv7edb37bLqu9de613/tyya2CffFlNPuT3uO/X2uP9Hd0TH6XfFA2feHQ+cdU88ePakeOjce2PaeZNj+k+nxIwLpsaMi+6Lhy++P/m5T4DylQ/Gz69+KB69Zlo8dt2MePyGh+PxGx+OX9z8SDwxsTOevO3n8dQdj8bTdz4Wz9z9ePxy0i/i2clPxLNTnozn7nsqnu94Ol544Jfx4rRn46Xpz8bLDz8fv3rkhfh154vxm8deit88/lL89olfxe+e/HX8/unfxCu//G288tzv4g/P/z7++OIr8erLf4w///pP8eff/ile+/2fY+Yrr8WsP86M11+dFbP//HrMmTk7CU/mzpkbb8x9I3Vw53NenxOzZ86O2a/NTnFn/WlmzPzDn2Pm7/8cr/321Xj113+MP738h/jjS6+kcv7w3O9T2erwu6d+nerz28dfTnVU15d/9nyq+0sznktteeHBX8bzHc/E8/c9Hc9NeSqenfxkajsaoAWaPHn7z+OJWzvjiVseiV/c9LN4/IYZ8dh10+PRa6bHo1dPi59f+VB0XvFgovXDl3QEwYl3MP38KemdeDcP/mRSelcP/Pju6Djjrrj/R3fGfafdkd7plJNvjck/mBiTT7wl7v3ezTHp+JvinmNvTH3hrqNviDuPvD7uOPzauP2wa+K2Q66O2w6+Km496Mq45VuXxy37XxY373tZ3PzNS+KmfS6OG79+UdqYVh+8brfzU5+85msT4sqdzonDN98/NlxinVh+zPJxxBFHJNcWzDQx/DRHemL4B3mMGPLFG5CBp8BPm8/S2P3MZz6TAEcANMYbfTH9mHEbhmLeAfw21PQe5DGaDhMpFyxAaIsbdKNhTTu6BFRp5dOiHjNmTAJU11133S73MKOJXtpq4QgE5yoGCP3ud787ubkB1HuW+5m+yA0NVzb2BFhllVWSJphvvXkA7jEtForGgZF0YI4wTL5LC2Q0098wVL45woIs7KA5RzuOb3vfpn0XfK/D4buc8+rMeOzCiXHZBrt38TaZz7lyi33ihUkzYubv/hDPTX047jzwtDj/k9vHhGW3iXuPOCNeeGhavPrnX8fvZz0Xj//urrjhF0cm4P6sB7eJHz84voZKg9oHah+ofWCQ+8CZHePjtElj44v7rBjLrvofyR0j0AFon5Vv8nxmziu17TNIMJLm9kXZlkyvEuzBv1M84EaQNd8222yTAB7KERmcB8xTlCD4B+5YBwB9/umf/im46PPvWnzP/+7v/i7Fp5CSASGKKYAjIBKrSSC+NQOhTAZ/cv3K/0VJj9Ged6Zz2R8yr2194jskrNlumyWiY9LYiJl7Rby2Zyvs1brO9/zne604KX5+vmf7+NKUoW0ZzfxynmXaZhzXjfqU5aR2tNKXZXZb57KsfN5NGW3zk6aMn6/b0KWrDrmc/N9K32xXV3zPy/xyukyHXGa+bsVv5teOTm3K6Hxo2wrcL+ZBpN03awy3gTvrbgLS7bbbLq2NP/zhD6dx2Tg8kDFcWmM6QN96k8IcrXwgPuUzAoM8hhtLch3z/2Im0YCKGxLA/bP3PBSTj/pJXLTWV+PcJcfFOUuOTYvb2/Y4MZ6++f4EEtMef+ruR+POE2+Ii3Y6M87b+pSYsM0pMWHbU+On250W53/5h3HhV06PC3c8Iy7a6Yy46KtnxsW7/Dgu2fWsuHT3s+OyPX8Sl+11Tlz+9XPjyn0mxJXfnBBX7ffTuGr/C+Lqb10Y1xx0YVx78EVx3SEXx3WHXhLXf+fSuOGIy+LGoy6Pm465Im7+7pVxy7FXxcTjr4qJJ1wTt37/2rjtB9fFbSdfH7efckPccdqNceePboq7zrg57jrzlrj7xxPjnrNvjUnn3Bb3nnd73Dvh9ph8/h0x5YK7YupFd8d9l9wT9196T3RcPik6rpgcD141JR68Zmo8dO3UeOj6+2LajR0x/aaOmHHLA/HwxAfjZ7c9FD+7Y1p03jk9Ou+eET+f9LN49N6fxWNTHonHpnbG4/f/PH7xwGPxiwcfiyemPR5PzfhFPPXwE/H0I0/GM51PxS8ffTqeffyZeO4Xv4znn3wunn/6uXjhmefjxWdfj9sq5gAAIABJREFUiJeeezFefuGlePmll9P+AvYYcP7Siy/Fi8+/mOK88MsXUprnnno2nnvilykveT7z86fimc4n46mfPRFPzvhFPDnt8XjiwcfiFw88Go93/DzV7bEpnamuP7/n4VT3R+6cHo/cMT1+dtu0eHjiQzHjlgdj+k0PxPQbO+Kh6++PB6+9L9HigasmR8eV90bH5ffG/ZdOSjSbetFdiYZTzr8zJk+4Iyafd3uiMVrfc9bEuPvMW+Ku029O78I7uePUG+L2k69P72ri969N727i966OW467Kr1T79Y79q5vOPzSuP6wS+K6Qy9OfUGfuPrAC+PqAy6Iq/Y7P67cd0Jc8Y3z4op9zo3L9z43LtvznLh095/EJbudHRfv+uO4+Gs/jot2PjMu3On0uGCH0+P8L/8o9c0ffeG4+NyyW8QS7/9Y8iNNs7X0iVkZ/gGNYWkAxsjxLU5iawJYccUVk7sRg7VnAHzMN5AVEP3xj388uTGhiczvpQF9tBwmKppEJjUSa4AqjWhaTEBn/RHNBL7kaGD/67/+awr8sZOWDwdAdWG/T3QDOBN4fOQjH0lMxuc+97nkS17/Qa8sIGL6RxPMQhEjwec85kEe5TGSgXvCDN8bEP5973tfooO+ZAHuu0QrNPNdopfNci2qCYloTfhmMVhD/egNuH/+7mnx7KTpcee+J8eFq+/U4nHGxQUrfyXuOfSH8WzHA/HqrN/EK6+9EA+/cHNc9tAhcfIdY+P4W7aK42/5VBw/UdiqFT41716398t4ztull2/xrOu83f1WPOWV8VJ9Wnmn+7ncIt/56tyXtpRl5PNcfs6/LLNFl656lWlabemVTo18m3VuRz9x3lJmrlfrv+07y7Tprsye6twN/ZTTRf98nutQllOel/EabZmv/eK1yaurL+Q8/beL112dG2W+hZY5v5x/K++ueI37XXVu5dttndvUsT/06yq/P/Trpi1lndN5m7opr2zLfOXn+GVdWudd8Rp0Ku838871aXu/1Q9S+laeXXmpR1FO837XdU/vvJX/ov5muuqSadZ6N+V9bem6frNdx1y/RXzjjHVjqdX+NVZYaZmkbQ/QxQ8QMJfKN0D7qm3fv1k7gyf+zfkCGuIB8AvcKHDrRzseuI6vwucD6vEMH/3oRxP/IM7BBx+cwH37/bAGZLXI9SC3RhdddFGceeaZCTjiMhCPBqSntUkRA6AP+Jcn134UWrhnYGXI1zKeRb2awE//Wltj94cCuW+guXWH7yvz2vMD90tGx6StI177eg2VBl19oPPB7WL82E9Ujfv+fHQLEDd/p+UY7nvNYzjAnpKavfQIXPMYTrmNkNUYzlUqBS7WbFyZcZvDAt0ecCy3jeGsubk8phDGJZo87SlH4Mo1rTHcvCBPVlfWk9zs2FMS1gPfMIY0x3D1Hi7HoAL3P11x+7j/uxPi9r1PjMs22SvOXXrrNzXWlhwXF6351Zi42/Hx2A2T4le/fCGBzndcfWsctfd3YpNl149VPrhCrPSB5eaFf18uVv735WPlD64wL3xohVhZ+PCKsYrwHyvGKh/5ZKz6kU/Gah9thY+tFKsJH185Vhc+0QpLrBJrCEuuEmsstWqssfSqsebSq80LY1aLNZcRVo+1hGXXmBeWWyPWXn6NWGeFNd8MK64V636yCCutHeuttE6st3IrrLJOrL/quvPCauvG+quvl8IGq68XG6yx/ryw5vqxobDWBilstPYGsdE6G8bG6xZhvY1ik/U2jk3Wb4UNNolNhQ03iU032iQ23XjT2CyHTTaLzTbZLDbfVNg8Nt9sXthi881ji823SMwPAEXYfPPN54VWHGk2E+SxsbBpyjuVoawNNolNhFyP9TeOjdfbKDZeV9gwNl5nw1T3jdbZIDZce157Nlxzg9S+rva2aLD+auvF+mgirLpurLfKum/SbaV1Yt2V1n6TtiuuFeusuOa80KK/d7H2cq13s+y8d+WdrTlGWG1eWHq19G7TO/aul1glVl+i6AefWDlW+7j+0eonH10pVv3oJ1PQl1Kf+vCKqY+t/OFWf9Pn9Mt/X35e+MBysdy/LR3v+8f3xrprrhN8VtMuzQx/6ZYkM/zlgDJcBpLBridmmpsX2vQYcFJcftIwdpg8mr1ozWzq8ssvT6ZVJgwMu0nA+xgNYLTJCaDK/Qof7XmjXm5agPQZUEUvixTxjANoZRFjIURzXB8djYc+xN0SVy4YBG6XLOr0MeB9FhBZ1HMJk93l2ARWvxOvZBDEtyC0+NeHR8qhjfoJVzzMGDFpzNhpWtBQzECHfubbE495pMU4t0zcMRkPS1oNVdr0BNxfst6u8dDJl8bEXY4L500e55L1d407DzwlfnHnlPj1b16Mp59/NK657fz45uFfjrW2/ESMWfM9NVQa1D5Q+0DtA4PYB5Za/V/iI8v/c3zwP94bO++8UwKS8ZbmOILnrHyDtzKP4yUrH9+3GdscnwOaoR0+i1IDbWq+6jfYYIME2NOcx99ThgDUjB8/PrkJpFVpk2C8FPcI1liUo/AW+R3hsSis0PosNz60Jw/BAP/4XBGyCqTQwvKPBicAn9XkjjvumHg94A8FF/ye+tb33Lf3vKCxmn2jZ+B+fMTMb0S89o15/+l8nzev3X9tn+JZK166n9OJ30qT4+c0+XpmK48ynXPlvaXMNvlJX6ZN12WerTS5Lbn8fJ3/u8psU0ZOk8qRd6PM1MaSFq3nuf7NNjbT96XO87WxRd+e6txbmWWdc7tyfqm9JQ29i32i88HtY/zYJSpwv6AfYB/S5W/Uv/HQHGhONM5aywHireush43hlAWN4RQsx40bl7xQEKpaW3ORmsdwQluYjTHcmrE5hlOG466O0qExnLCWu1cCAK7Q4BuEsBQPrT+N4QB8e87JM4/hZf370NxBjzLIwP12MfWoc+L6cQfH+St9+U3QvuVO57xltomrP/+t+NkVt8XLz72QzBK92COPODLWWmPNWGbpMbHUkkv1Kyy95FLR57DU0rF0L+ETH/9EvP99749/ftc/x4c/9OFYaskle03TlefSSyewAmDRnzBm6aVj/jAmxizdTRgzJkmcSJ16Cjo5rUjmJjo5xqWn+G951l356X6zvv1rb6JNL++hi6YLHK8f/aIPfW7pJefvOyuvvHLaUEP/LQeirHVaGf6BjYUmCww51zdc4GDuSVlNAMBRgKmJBMNNu3fnnXdOm4yKR+se8+75SD9MqBYzNnXhT5z5MC0mbnIsdEyO6CWgFaEGszNaSCZefumArSa60XiY6IHy9lMwTtK85zrH4r0UEOmLd999d7JkwKjwuUozACPjWx/pBzpZ4GqzzXx9ZzTbMFeYryywNP75Ro855phETwA///uYseHSx3oE7tfdNR448aK46tP7xU9X2O6tPM6y28YNOx4ZP7/hnvj1r38VL774QkyceEvsf8B+sfoaq8ZSSy9RQ6VB7QO1D9Q+MCh9YMlYeoywVIxZZunYcqst08IfYNBXFznDZR5b3DxJCZbg3wH2eCi8E7DnyCOPDBaN+Hnak4B06yhgPWtR+/hwSehd4FsBullgUoLpJf3blYknVi63R/hbChYs/qwR1lhjjcS/ZO1NFr02RqQFOn369KTooqyyvMVNx5FeXn5nuY90D9wvFR2Tto147Zt9DPtGvJZDX9PUeH2n70BotfDeS+eDX4nxY5eswP0iGijy9+nf+AsfgCXwgABnsP8IpT8AunUgAB1YzzIKiH7bbbelNTWlwe7G8LLqubw87uZxQbmE6fAdGvoUN43h3PtywUoIC+N0TUBrM3P7uFmPqnfO1/9QPwYVuAfW/+ysa+K+o8+N675wUExY/ktdC9tzlx4fl2+yd0w67MfxwvTH4g+/fyUBSbRqmUrwPwekswnlYAWAjc0dV1tttSSVt8EN07vBqs9AytWRSakA90xZdtttt2HZjoHQYKBp9ccykDIanDCZBhHMKB/iWQMka+kAuQxYGMiSARwOA8hQGeDQCgh4+umnJ2bbIG2CwNgbmDHmngNYSXFtqrnhhhumwZx2Pkmtd4P+I/VAIwsc/tRt5AJQZnZsQxeaShaiuU/6p/FkA1PAqwlvl112SYsq/XS0HiZ436/5J7sZ+uxnP5v2rMhCOLQTx4KSW6Zll102MS00zzEU+uBI/ra1jXCIMMhC28ZCBL329gDSaz9aYbQwa4SZ/BH6ZtEUzWjGDZejJ+D+8o33jMcuvjUmH/bjuOpT34wJy27bxeOcN2Z8XPWpfeP+Ey+Mlx55IgkzfIO0R1hxHHrooXUOHkT+bqD8QE0/eLx5pX2l/YL2gSYPj4/Hw5vzWdEBd43TpQAaf9md8s1InusXdI5Gkxzw3HhKvKk9hAAqfNhTJgOYE+bjHwj++bfncgGvbt20KGhrLYb/uO+++5Krhh122CFp9wOdWJ5yv0CJBT9z5513Jl4vCwxymxaULjXdWymQaZoBuu6B+6WjY9J2Ea/tHzFzv4jXWmGm6/3nXXedF9c5vjQpXSt+vu5K03qe8srpi3tdZeb0OY7/fC5+67orf/Us69iKk+IV+Zd5lHVO7cxlFvHbpS/L9DzHyeXn6/Rf1jnXsZV/WabzlG+RX3mdy+xLncs25jrk9GWeqczc5lzPFl276jOvzp0P7liB+7d+VgvlTvPbtPZ99NFHk2U+H/b2ngDYUxAE3hPEcoHDdRmrqEU1hhuPzdHGcMqHlMGsRd/znvekdSYhMCGsOZ3gwHhvfBFymxYKgRZRJosFuH/+zofi2s9/Ky5aY+e4cNUdu8LlG+0ZT984JX7/+LPxyDnXp0WsDWzPXWpcXLz2LjH16HPjt4/O86dsYtcpSFS8cKDSYAdMBhM9k7gJnXYh1xKDXa8FKR+Yx18URokfa9qiC5LPaE7z1FNPRQ76KO1aDCbpo34LzKLFDLjSl2k1N0H7PHAsou99RGeLdqS8GHxuTJhJEZjQkLawQm+avt4Bs1pCNmaw73jHOxJwiAn3PkbqYQzVP9EEYA9QJbzg/kbfLAFVNDKWrb322mmio3XPzROgFZ1H82GBjmZoo59xt+Ta5J8FRBahaGozNS6JmAbqjwS9+qPFx0g90Af4TDONpYZ+xvqF4BIzhTZZyGFspL3GcsEGcebSCy64IH2nw4U+c/48M564/I64+tP7dfE2mc+5/ovfjhen/Cz+8OQL8eCJF8YVm+4dlBLOXWrruHT93WP6D6+IV556IWl8ZPCCxuFQ4XFG83xe2z74PHZ9B/UdLO4+kHl4/5mHt1eLcdmcnkH7ch4z5zWVb4bL/LW465mBEf94SfMevpz7Aq70uKUB9uAbKI1QKHPfpvZ4LKDM4jjUDZ9CK5OvZVqi/DBTbrNmcI6fw+Opv/dfAfyF/2Zyf/E+0Ld74H5MdEzaPmLmtyJmHtAKznNwL5+3i9NM04yf0+Q82sVvpml3Xd5rnpfXubzynvPurpvPynqW592lL+Pkc//NfPuSvqc4zfzKsvJ5f9M383zzuvOhnWL82KWqxv1C/DTzN5nHcN+lsZJi9UknnZSUfylicX1K6Y/7MQpZeQw35i+Ow5gBa2P9TakzC4SN4f/rf/2v5LoHqG9tagxXr+Ewhi9y4P4vc9+IV1/4TTxz89R48qq74okr7+wKT103Kf74zEsx57VZ8ecXfxOPXTQxLWwvXG2nZF7+286nY+7seZsI5MmdmxFMFEB0sAOTjB/84AdJqvTOd74zabHy0zTY9VqQ8rkKOeqooxJwv++++yat3AXJZzSn0S8FGt0AKYw+80t9FrNPCxfwaYDIwFVm+IfDYLE4BtqBlmGA1n9pxWR/2fxk0o6i4WsQ9w4AYySxpK5vf/vbkykVdx20pE1GI/HQdtpK2kzQyNIArYxj+qZ+SbiBTjSjSaPR0QTM3I1kWj8dqfTp6ztHg6lTp6aFXAbkgfMWnhbzuZ/pc+jI5Jvgw0KURjmQnyBvpNLR98WMncXLX/3VXyU3cDYS4v4GTbLQEp0IjFlyYKQIjfknpNGIxsPl+MucuQmYf+bGKV28TeZzfjnx/nj1pd/G3FmzE68z44dXBIWFi1bfOX72k+viD0+9EHNbC348DuGZvjFUeJzRPJ/Xtg8+j13fQX0Hi7sPtOPjS8Ubc5h53jxmDiuVbzJ/NFLn9oHOyeiSQwZirYUAOnhRLgXx7XglLhzxTp6hP1pLszgPdbVGIzCgjMAyd6ONNkouH9ST4s9nPvOZBPyIU8H7hf92mv2lZ+D+yxEzD4yYeVArOM/BvXzeLk4zTTN+mbYv6XOcMl1PZTSf9TV9X+qZ69Aso3nd1zK7yy+nL+vULKN5nfMq//ubvow/fx06H9q5AvcL8bPM36P/PIabA2GIlLWsceELcBV7wNkE/I477kh4GMW2wRjDjRkwOGt03hayxwHrThgHbynW5dZf1mHqKOS2LkTyLZSsFjlw/99v/CVe+9Ur8eK9D8dzdzwYz93+QFd44e5pCbCf9fs/xStPPB+A/KmHnx13fuPkePTCW+Kl+zvTYnfu63PijblzE9hJExQYOtgBMKsz0tqldQmg+PjHP56kSjREBrt+/S1fhwZcAk9sVOkj7G8eNf6LicEE1NPMETBz+ixm36DQF9DeYFGPBaOABRXhGeYa828DFAA0rRmgtEWCON4LDXtWMjShaQbbkNngDcQeaUeeWPfbb7/kIsfEarKi7WxhDGzNC1H9l5/PVVddNU3AJmI0pIFW+2YkGugjtMCY3xn/mXVjCIz9uZ9lEJZ7HJJ+IL+4tM9vueWW1A9HWj+zuGYGaZNoJu5/8zd/E0zN+bYnyESTLLTU72hnLLPMMonJs1HRmWeemead4USXpJzw3K/jhUkzunibzOe8NPWRmPmbV2LWK6/G737+TDx+6W3JbQ4e54mr746XH3w0/vTCr5OCAobRN2hsqnPp4PN49R3Ud1D7wOjrA0BiIfPxxuN2ijftQPu82B9O89fiqmsGQfyjEzDF2gh/hEfI2uwURT796U8nt0Ss2rMm5GDyngQy5mYKP9ddd13a40h98TfcLtg8lxulxx57LAkYxM99YTDrvbje7aIsJ/cb9ETX7oH7ZaJj0g4RM7/dCgdHzBTK63zuv/msXfx2cXIeOX6Ok6/z8+7KyM9z/Jw+x29e5/jN531N38wvp8v5ls9zGeWz8nlO2+5eb2kG+rxZZs7Pf/NZrue3o/Ohr8X4sUtXjfuF8JGW36LvMQs1re/4k4cVwF2s/TbbbLO0nrPZbAbEF0IVFjgLY4e1pzGcMidNe2M47Ce7zrFBuTnHGn4oj+GLHLh/Y/ac+O3DTyY/9nfve0rc9Y2TusK93z4jfvXAo2lB+/Pzb47b9zwhbv7KkXH91ofEbbsdH/cefEY8esHN8fof/5yAe4wSgAkTNdgB6ADk23LLLRPo8D//5/9MfpzsWszFxGDXr7/l01TmP5CJIt/9gPz+5lHj/yYxophRwB6wXn/NgD3Gz4CQ/WFiQJqDQx4YF3h0GuUJTSYmCj5JbR5qUN58880TQG0BZgzxHrwb2tD8afI9brHALPfLX/5yAh69o5HCcOtnBBd8cnLrwsyXaxI+tGmO+24JM0xqAr9wJOf80qEf/+MWV57VYx4FfLfciZn8CX70H+A8QN637zu34HSuP/Lrh/bcwaA94eiUKVNGjGsm3wrhEO24PfbYI20oZ1ELlKelZn4xLmarDn2JWys0w+QRGNO858LKtzecjjdmzU6KCVOP+EkXb5P5nI5jf5r4G6D9jNOvjNt3/17ctP0RicfB70w+9MdJYWH2q/MYRf3G2FTn0sHn8eo7qO+g9oHR1wfMUzlkPh4Pn/l4c1dPoP1I4RsX5hyc1zUZfDXHs2xgmceak4INZRIa7GPHjk0uaLkpAgwNlUMbslUcy9W99torWdsDqtSd60Sb2uL32q3thko7hls9mn2ne+B+2ei4d6eImYfUUGnQ1Qc6H9o1xo8dU4H7hfDh52/R+td6zxh94YUXJnew3O9a83GNY98394Hk4kk3FI48hpvX7a1G8doedHAOa3hu2uCg8BJzvPlKyO0eCm1Qh0UO3M+d+Xo8O/H+uGKTvYP/+nOWGNsVLlhlh3jq2nvihXumx937ndp1P8fhMueeA34YM3/7hwTc6wBAN2DoYAdm/0xAaNnTtv8f/+N/JEmTHYv5w8PwD3Yd+1O+DSX4vgbc24wJ89Gf9KM9bmbs/QNBBSCVgNEHyGRmv+kepxwYhsoAN1QGqAWph3cAFFx//fUTQ21CsW9DqXUvDosIwDUQNWvP+J5t1Mx9jLHGuxnOhwnW5GpBYRNt5r1AUoujK664Ij3z7Wqr/knDkOYQYQYzMqbLdobnl70e81PAGM/dEq37t73tbUnbgBY+rSvfe56raO/dcMMNQagL5PcOuJFhBm4esRAZ7t+9vkNTgUVH1rrw3X3ta19LAo6sbZ/7GcE3QRKmiRWCzedYf6DVcDt62pz2yi32SfzN83dPi5t3OOotPM7Fa30tHjzhwnj9lT+lsQagYc4Y7fNpbf/g87j1HdR3MNr6QHd8vHkrA/bG6MzDA3LbKd8MtzlsUdY3gx546Qz4mP/tD0dTPVvm4b233377pPxAcDKUeW88G8UN7n3wMIB7PCAemxUhd6nt+saipPNIzbvZf7oH7peLjnt3jph1WMTMw+b95/N8nf/dz8/yv2f5+czvFOfl/eI8p8v/OW3zOuebn5f/+VlOk//b3fcsP8//Oa903Yc6N/OdL33RNu3P5eWy8v98ebTi5Xs5v/I/PyvT57ybdO66X9aled5dme3r3PnQbjF+7DIVuB/gAJG/Q2O4+Y/XkUsvvTRZRwG9CTDhKKytYQt4B3GH8kFR7IADDkibj2sDBWzreet4mIcx3Dwk5PYPhfYMGeD+nv3bA/eTvvXDmPU7wP08EykAASZqMAPm7vbbb4/x48cnEAZoL9jsgObA7rvvntxKAG8Hs579KVsn5YcYcE9bGQjTn/SjPS6mvgyAuwzWY/QFgqfM8Ldj9g0M9Vg4FMA4A5xJf0lTuc6ZMGFC0mb1noBjNFtp/XB55VsWF6j6sY99LAGQQFXjzXA9TDbGoHPPPTdpA1lckIhnlySPPPJI0iwTB030V1JoYCu3LuLz30mL3LN6vJUCLJP4Zce0ZK17G91gWtAMbUn37Z1w8cUXp81XCU7E54qIQAVYbTEyXA/MDc0K84fFN4HPu971rmTpwlKD4AgNcj8zVxBk8DNo0c7HIFN5WvnGyOF29AW4p5xwSx+Ae/ODfjPa59Pa/sHlcSv9K/1HYx8oefjME+EBhZKHN+e1A2YrDz//7J3BDv/WPPgcCjP4Apac+FFWiFwNUq7holWc4UBH/YGCm3UGnto6A19HeY+2qTWGtjTXevNTqF71RoHch6xnch9Ce98n3pnbi6WWWiq22wZw/7WIBAYfHjGzTZjlHoC79SxdF/Gaz8WbJX4rjedlnGb6nG/5X6ZP+RV1aOaXn5dpmmU0r1NZRZtSHgtS5yKPZhnpunjeLNPzxV3nrjJ7fpedD+1RgfvePrJenpffoHkPdsJl2HbbbZcwQ8rLLMmthWEI4gyHw3hi3Qmop6xo/Ibjsp5iDWbNqi1DDbwfNsD9X954Iw3aFrYG7cEKGDggBJAib76XgXvSGqDMpptumjq1zj1Y9exvufxX0xQApHChQWu0v3mM9vhApzLoqxmox8AJ7QaB4cCkDodBuKwjps4igCsrLl8+8IEPJECaD3ILUs8J4Gj2AO+vvvrqJDkWN2ua+8YJtAzuw/Ew6RAw2tFdu/IC6fDDD0+usDC9AGb0ABby6fr9738/AcomMIIMO7GjT+2j7XuA/kO7wFxA6LPkkksmTXo0Mx6iLRpz00QYSqscYG+RZ9G6xhprxAUXXJAstDAHw/HQj7RrueWWS4wPOthY7pRTTkk+/7Xdt4YWFrO07Wg50MxHB/Sw+BJnOPazhQXca7v5wRwy2ufS2v7B43Er7SvtR3MfKHl4500+3hidwVhztnE7h+E4fy+qOmea+M+gKx5g4sSJycUg5RAgCZeWBx54YFAkQWvxh8Ohnr4TSgvZ8hJP9+53vzspJXCZm7VOc38ZLm0bSvRHMyH3IetodH8rcL98dNy7a8TMIyNmHTUvOE/X+V7rum2cIs0s8XsIvaXvS5kpf2WWdWyWWTzvrcye6ttVRtHGtvn1QqdFXed2dOvpXXa1uXs6dT60V4wfu2zVuF+Ajzp/e+X3Z04EzvNpb+xmaWTcs6bjqcDz4XSorzHcGtZ63JoUXmIPQJ4bjDN5/C7n+8Fs4zAB7v8YGbg3aGdGajD+AffAPL6wuT0A1mfg3j//0aS/Rx99dDIlMcEMRj37WyatyJNPPjkB91wAaWN/86jx5wH16JCB+gzWV2Z/8Q5z6A0wJIwCKBqMgauAaMAhAFHAWHN5wt/92WefnTaoNQkB75lMnXrqqUlbejiB9yZZ7brtttuSJcF73vOe1J7sBoh5GDO3Ugu6tCIyGRvbtt566wTwG/Pq0Z4CvnWAPPdiNMcJbm1yTLsefTNYTYgL4M7Sfb70CEcISpmLX3bZZclNEcZguBzqSnuOdhkBme+GcGillVYKwqEHHnggPdd23xoGiMsc2nbcWGGOmFbaT4GLJt/scDwWCnD/h1fT4tQ4M9g8Tp3H35zHKy0qLWofGL19IPPx5qaeeHg8Vz3epEB3gA+e4Bvf+Eayan3nO9+Z+HJ+hidPnjwsrVu1E/Bj/UxrE/CDB8yKQsB7fGDZd2pfebOf9OUs96XegfsVouPe3SJmHR0x8+h5/87bXef7+b+3+M3nOV35X8Ypz8VpXre714zTvC7LWtD0zTzL6/K8WVa+bsbp7bpZz77Ez2Xl/wVJk9POOjo6H9o7xo9drgL3ffnYijj5u/Ofvz14pvUuF2GspKz3CGB32223tL+Zdd5wO7Qvj+FzvOacAAAgAElEQVTcnK+++uppXc57Crc/d955Z1LwNIajgyDNYB7DArh//fd/jP9uEczCNjNRg/EPiKFhyZQCuFeC9s4B+XYoBnqRPunIg1HP/pZJQ5SGJCAJ6EIzub951PjzmHt00E/LkD/4/NHnQXEwP/6RXDb6WnDTuidkoz3OfQft84suuihJWH2btNIBiwDI6dOndzHfFhVcxWy44Ybxgx/8IPkil99gD9i9vTN9DkB85ZVXxle+8pUEJptc+RvnjuSaa65JoD1N8awFDeTnFsim1EsvvXQyfSO04GLHomOot7k3mizK52ij/9isjKUVJsaizaarNMv0q9zP0NK7sfkv7QQbt3o3fLx/7nOfSxJ/lk/AgqF8aLM6EoARdnGnRMuM0JoWvT0jWHoA49Emu8ghSLOQpalhEzpzDa0GfdKYOVz72cIA7me3gHvzw2DzOHUef3Mer7SotKh9YPT2gZKHd575eHNVGYbyfD0Ydcu0yfMZYITQ3sZ/eEtKC/hxmxjik/Cgw/XQVmMEiwH79lAQoihkfyiWBIQSeMDcfzJthmt7F3e9M71yX8J7tte4B9zvETHruzVUGnT1gc5p+8T4sctX4L6fH27zuzOGc0FMGZLimTGOgh+Xp9a/wxkr0Fb4Dpe29p5jBW59+qEPfSi5/5k0aVKao/IYbiySZrCORQ7cv/H6nPjNtF/E5EPOjNt2+17custxXeGub5wUL9/XGb/rfDoeOef6rvs5zl3fPCU6z7sh5rz6WheTlBmnwfrHYNiAjz8nJiJN4N41wG+FFVZIWpTcT5Qve7Dq3Vu5NHBpF2fgHoDUW5r6fJ70rS90yINg+T9YH/1oKRetAYc/+clPYrPNNkuaMPyQE6rxzwZEpQUMWMygKm10gisuT3zH4nP7ceyxxyZtaYI73/NQO7TVxANMPf/88+MLX/hCAlMBwzTB+fDnkoVJGNDeOGYxAbznFuuMM85ICw7fPx//e+21V5rE5FmPnilgIaEv5UWpPgO8t9eJzY9ZdOg3aK2fWcDefPPNsccee6TFHSERLS0M0JlnnpmsnTBJ3ulQO4x12sJChXYCzXl9xreCydHmG2+8MblX0tZSOESI5tsSD9NnjuQfltB4OB9zZ70eNp+ddNDpb+FhpnznrMTf4HEeOumStzy/Z//T4smr7oq5r81KJPDO+zKf1Dh9n3srrSqtah+ofWBh9AHjcxmG87y1KOue5zG8Mv4Iz8kd3sYbb5ws7Sg42Hfq8ssvTy4ahyJP3V/6AO/xOBQX8DgUGfi+536SIhw65D6Y+1B/yxiN8TOt0C73p/bA/YrRce+eEbOO6yYc3839HL+35zle/he/maZ5neN2999b/IE+b5Yrv2aezetmmuZ1b/Gbz1037zXz7Om6Xfpmft1fd077ZgXu+zlw5G/Of/7mKKHZm8wYTugqGMPhK9a4I2EMN8ZMmzYtDjrooIQBcftKGe173/teUm60Li/H8H6SdaFFX+TA/UKracR8DFPZsRbnOQZkq6226gLFTM42ZqBp//a3vz2AMDTxad0D+7icMaEvzjouSFnApNNOOy2BMLQGmP4tSD41zfyMfXf0WJjfRc2rewoYZElRfYvLLrtsYqYtGgDT/LQB7UtQlQDL/YMPPjjFpw0NlKSJfthhhyX3H0DvoTRJ6WPc2QDlAfAEDeoMtAcgjxs3Lu3+jg60ngkzgPaEFoB+gD4LImmA/DT1aUwPBwuD7t/84n1ijJ8xY0bqV4S6JnxWHsccc0zawAy9BX3HHILuhEdMDFlD0EADZq+zzjpJo8G78n7036FyqIvvBWMDcM8b0XKRwz2cTY31G3MHRi4Lh7SDcMieERayBN4Wtiw8mM5b0NZjHgW6my/q/b7Nq5VOlU61D9Q+sDj6QJ2z2lMg0x6/gE+2fxIXgSw+uWHEU9vAFa9KuD+UeOn2Ler7XYCy9YO2/sM//EPiA//rv/4rrr/++sTP4RPRRUCnevROgWZ/wi+2B+4/GR337hUx63uNANQt7zWvy2fOm89dN+810zSvy/jt0pfPm2m7q0O7ePles4zmdY7X039Zp3bpy+ft8unteTNNs4zmdTN+u+veyjw+OqftG+PHrlA17nv/1FKM/L35N04Zs4zhHR0daX3LutpalVswQklKa+KNlEO7KXDusssuScgM02UZxtNKxn7y+C3uYBzDCrgfDAI1y6RBuOuuuyapE5CFP18+pIH2NFV1ZiAYFxs0Emmu6/hD/eDWoAncD/U61/pVCvSFApg8mjAsZYD2BmIa9fySW1CYlDKoCnBkDgaE9T3wV04IRxgHbOTmg49ugq7BGrTLNqsDwcNDDz2UtJkJJ7KPfpJivuhod9OQJjEvXZc451KHuxKgPQk6n24AZePcUGhf2dahfI5W+tEtt9wS2223XVq06WfmB/0IEJ/7GboToAC4meDZD4VfPVr3GKLll18+aW3xrWdhOxTegzpgWuybQOjF/x/BkH6j7swLmYRrU1M4RFBhLjQvap/5kp9b8YH6Q6F9Q7lv1bpVClQKVApUClQKDGUKmMdzAGwA5K19KcPY+A/PnfkbPA8+eySB9t6NduN/rr766q6NDuECNDi1lzKMNos32ODPUO5LZd2afap74H6l6Lj36xGvnxgx68Q3/2d9v+frHF+alK4VvysP198v8ivzzmla/zmP/J/ybqXvyk/6ooz57ud8Ws/LunV3ntIX+ZVl9pimWfeyTOdFns0yBlrnso5debXKXOA6t3sv34/OafvH+LErVuC+/Kh6OG9+b8Zw+OCECROSC5mshX7UUUclS6KRNoYjjXU3bIR1gXW89a4xnH9/YzialOM3mi3OowL3/aS2l8ZPL3CLb17uZZiLADC4CeA/231mgV4yQHBxv9R+NilFr8D9glCtphkOFPD9AR3vuOOOpAnDLxutnzXXXDP5tOeqgyaxkEFVwDyf9+edd15sv/32yaVJ1mDnJ/+QQw5Jvjkx6YMhmNMmDCwBA/cq6sgqAGhv009CRZtMazPQmMuu0nUJEJkWEJCZlj33Lp/+9KfjkksuGXabpA6VPmgiJxxBQ37fadFnFzj6kT5FyKKfeRf6Ds17QiXANvrz/e4d2rRVHjY8A3Drl4Mxj2gT88ApU6Ykc8HPf/7zqW6YmezfkNYFDQXfUVM4ZP7D8G2++eYpPisEe05koYT861EpUClQKVApUClQKTB8KYA/EczpwByBYN56mRUnXghvilelAGAtPRIP7cJzs9AF2msz/gcugO/OoA86ZZqNRDosrDZlGuV+1TNw/42IWT9oAeOA4B+0rv0D31vX6b7rVhz3nefn+T/l5VmRTz5P+ZVltIDn+cos0naVWebVpkz559BbnRO4XuRXlp3r2ZVXbuMA69yuzFxGKrNoU6JfGzqX9Wx7XuSR3ktZZ+1tPc/l5uucV3HdOe1bMX7cJytw34cPsvmtGatY81vf7b333snTCOA+7+FmbTgSD2MMbyn2N2QRDx+hxHnxxRcnTNfzLIDNNFucdKjAfT+p7SUBI2ikCnwY68SAQJs2AC/ys+wPqZ9FDEr0CtwPCtlroYuJApg+2vR8tNkIlMkuky++7y+99NIEoPpuM3gvLhMwG04ZrJlNAVN953x6jxkzJvnKB6zSmvb9mOAWpfRZG0wYhBCPPvpo8g9Kc5nZMUCUNhPgl6909WKyCxgGpmbQPlsW2CCVj3VtYtJrMxbgsviDIYhYTN1gkRfj/dM6P+ecc5LwRH/xbixW+X4H1utj+loG7wH63M/8+Mc/Tm6NMAoEwaxDbOS20047JbNycWivL+p5RT+z+FRXG6wD3lmaqAtteQtwdTTvqTPBA20y8bVJ+/Qz3wTXOUzFCYekZd1x0003pXiL8ltZ5C+6FlApUClQKVApUClQKZAokAGMEmDFC1FKsJ8NxRcbt/7oRz9KvPVIJVvGCGzYCOyxzsBn49XRI68T0CnTzH892lMg06jsV+1d5awcHfd+M2LWyTVUGnT1gc5pB1bgvv2n9Za7vjXfWfmtUfo766yzYr311kvKaCz5jeHDfW+ytzS+uIEO1rEEFtas1uI2Gye84L3A+NME7hfnGF6B++JlLcgpYC9rE9B8BaoNx6MC98PxrdU694cCBlrf54UXXtjFUAPw+YC3SRYJK83mJnjPPzft9K9//etJSx8QC5ClSbPEEkskUNMGLbSSMebSY84B4AMdzE2gQFSa2gQJXPuw5qFNz9KHD3tAqsUBjfttt902gcYAV2BqCdpru+88uw0SX9plllkm+WJn0lxB+/70qPZxCVfsN8BFDrCbYIQ/eBZZNM3QOQt3M3jvvZhLbCwMqOcuxzsl6eeqaZVVVkkLv8suuyyB6fIAjmcGYiD9TFrfhrz0XXnrP6zHLDZXW221VAd9HgCvLgRZTAn1R4KHDNprl35GAERQseOOOyZhEhrYyBYDSOtMv65HpUClQKVApUClQKXA8KcAPiIDPvhI8zzB/Ve/+tUEfOBluJml7DbShfbaj1+3VxY+m7IPC1+W+nilwdbYHE69Tb8q+xbatQfuV4mOe/eLeP3UiFmnzvt3Xl53dz/Hyc/zf/N+zi//N+Pl++W/OO3idXdf2vJZmTY/K/PP52W8Mn1+ntM245XP83kZJ6fL/+Wz5nm+zv/t0uQy8rN8XabJ93Kc8lk+95/Pc7xmutdPjc5p347x41aqGvd9+OjL78wYBseAF1Dyg3tYx8E73Rup2vaZTNpvXW5jWi6IYSXcvVL0tE72vAne57SL+r8C9wOkcAXuB0jAmrxSYDFSwMQEXCRksw8FLXWaQNyS8MMJvAc8Gpj903AGfgMi+ZGnYQwcN5CTwtqcmv/75ZZbLrnhOeWUU9JihQsbgz7A3QSH2SwHeguczJA2J0txgfUWPspXJ5JfoO4BBxyQ6s0fvXoDU22GynIAmH/33Xcnv3MWDe3A1IkTJya/9wQW0n/4wx9OPsuVo371WDgUQEuaCjb6pm3GbQ4AHtND41x/yuA9YRELD/HtieIdcj/DcoJ2A2bpne98Z9LCt/jbc8894+yzz07xuGPznpmk6zPNflb2se76mbTK7uzsTC5s5E3IwApD2fq4hacNaL/whS8k80HfgjZIp+7ZosM3w0ycgIGVAbNKdSccwgB5rh71qBSoFKgUqBSoFKgUGP4UyLxFBu7xIfhm/DBBP14TL0MZAL8yWg78Np4Jv/7+978/8d74LMBzXg9kHm200KS/7cz0KftWe+B+1ei494CI138Y8fppreA8B/fyebs4zTTt4vcnfS6juzTtylsYZXZXXq5PWUazDjlOd3n0NX536XP+ZR3KuO2eN8tsXuc0ZT5vxumcfkiMH7dyBe57+fCa35n1pPWa9eBaa62VcA6KihQf4Qu+x5F+oIFNeSl3Wr9TlNxtt92StUE5hmc8Z3HRowL3A6R0Be4HSMCavFJgMVPAIMvMCwhPa51PcQA4lzPHH3988m0PuM9uZYDaAEoa7EBJPjuZimXNaOAmgFI+3IEAar/4xS8mH5cXXHBBig/IZ2KV/YDLPwOtAHrAJ83lJ598Mmlec2XDJyYA92tf+1rSVrY5rnoSFCiP6RaBg41BafJYEABTTaolmEp4wLUObWd+1NXzr/7qr5L5rg17uWCxiDBx12PhUQBNCV1s4mPxSkgEAAfIs9BgyaEfCBm89+70Ec8s+oDdmAYME/c53r18MBA2hbVHwbHHHpssRgh3aMDro/qqPuDd537m3D3P1Ovhhx9O/vNpENgsTl7ypFWvDGXpb8rmFoe/P+bf+hKt/AzaZysV34t9IY477rj0LRFW6GeEWieeeGLq/yNd027h9Z6aU6VApUClQKVApcDQpwDeEV8tmOPxHPiEffbZJ1ncsU5lsUrRAKg/Wg7CC7wVHgpPRWOTu078fgbuFzfoM9xo3wQU9Z/ugftvRbx+esSs0yNe/1ErlNfuN57l61nt4rvXQ5qeyijzy2Wk+M38WmX0uc65Tj+KKMtopu9Xma06lfm1S9/1vJs6d6Xppo2ed+VRvpfcJumcF9dd8ZtlNstoXs+L3zn9sBg/bpUK3Pfy4ZdjuLHJN2adR1HM5qzWhVymZlcxvWQ3Ih4bm61vv/vd7yZch9Y9K3p7B7YbwxcXhlKB+wF2rwrcD5CANXmlwCBQwMICSE56DJQEuGef4hYbt9xyS9KYz64/suY9sJIbFGA3VyA2pwas8/9Ge93ADlSXF014bkb4SKOlz20Iaa38v/WtbyVgn5b8t7/97aSJY4JkVkxTmZbOBhtskLScacczMwbckvryE0owcPjhh6eNULnoAcQC/i0U1DWDqUBh2tEWD/LjfoUGNeGC9MyWAbqLa8IZhFc9qEVifgDk3OZstdVWafFmU1duY2jj2x/Bu2r2MwC+/knazyUNMBywrj/R3NIfCGD0B5psNiP+7Gc/G1/60pcSc8W08Zvf/GYcdNBBXf3MuXu06QmdxLXfA20KrnzkJU+AuzJo99tIlvCAEOmBBx5IdWJJQmtOP6ORoY/pdwQHXOtgbAgosmkhH7eESswu61EpUClQKVApUClQKTAyKNAOWKWMwi0g/gIfwFrvqquuSjzDaOI1gcx4Jwoz+He+7k8//fS0hvCsgve9fwPt+ld74H616Jh8YMTsMyJeP3NemO3f9RkRzfN0fWbrfiu+dCl9kcd86Vv5lWXkslLaRvqyzK546lLm30iT4vVW5yK9MgZa59zG3IZEr0yzTMuizBSvVceyXU06dz3Ldcx55esyzxZd8nvpKqN4N7meTbrm6zZ07Zz+nQrc9/KZtfvG4ALWn6z5redWWmmlpHBmzQfQHi2HMZqw9fOf/3xyjwznYUkGBzKGE1SXLnMWB10qcD9AKlfgfoAErMkrBQaJAsB7EmWD8g477JA02GnP044BatqUltYQyarJyn8G8IHk3JrQMOb/HjALjAfQA1EBoUBy+fknrQaGklzTnAfqf+xjH0sBM0973oafNKltMAtENVlK755JE/MPkAXiqtvkyZOTZjYNagKFEkwFBrsPTD3kkENijTXWSMIEJrvAXxrQhA8VtF/0nc8ig2CFKybgOuDee/BO99prr+Q6h5Z92c9oxnun+qe0fAoC8L034DjBDu14TIR+IshX39HP9CXPyn7m3D3PxNEnpbGwVh99UD+RtzJstm6xnQF7fT73s7KuBAy+AYIn/lz1WfXYcsst034LvhM0GE0L9kXfq2oJlQKVApUClQKVAoNLgRL0AXJwDYk/4I4Sr0mJBe86WoX3MIL9998/WS/i0w488MCkTINOFbjvve+W/QtA1r3G/erRMfnbEa+f1Qg/7uW6Gd91mcZ587pdmvJeGb+3/PLzMk15np+X+bc7L9M4b163S1PeK+O737wu4+bnZZzyPD9vpmlel2mcl9fNuO3ybMZvXp8VndMPj/HjVq0a9z18as1vDDYC6+AxgFtg60NCWJiDZ6PtsAbfd99907rWfEbBkkLkYI3hFbgfYA+swP0ACViTVwoMIgUwglx8MH2iOb/kkkt2AZnc0NAWzpvOZk12ixIgORATmGlDWibApNM09bmk4Yt+7NixSROfhvyYMWMSSA80BZga/AGmXJEwI6bxD6AHrqoD9yKAWeCnDb1OOOGEBNwC4mlwA0uBujSzs5a9egnqxWWKDXeZJ2cwleb+JptskqwEuNQZjRPwYHU1iw3v6uqrr04MEOGN9++fJj3Lj7yhsHdI8KK/6WfSedcAcPMNN0pcI7H2sMu9fkprnhUFzTaCIAIi7xvDlfuZc/f0QUIjcW2CKy2mjCUIARRBljIstJWpj6tDFgzlfuaeOp9zzjnJd78yaezLX9/H9GmHb6welQKVApUClQKVApUCI4sCJegDiKZtTxEB75mVB4DV+FTPR9uBjyPEwB+xdt16663j5ptvTuuOrLGZ3eWgZT3mp0DZv3oG7teIjsmHRLz+k4jZP5n377zddb6f/3uL33ye05X/ZRzn5XUZL583n/d2ndPl/2YZfUnfU5xmfrmc8r+n9OI1nzfvNctoF78sr5m+L9eN9J3Tj6zA/fyf1HxX+fvybxwyRlO0MoYTOMIlrFOtD2EdfVnPsa5mcUUBbVEcWbBgbaqui/qwD5y1sb3arHF5WOBxgaV8cwxf1HWRfwXuB0jlCtwPkIA1eaXAIFPAhGXwB7wffPDBScLMrJXLG2AoTWJ+wGnfA8UzcJmBVQuSDK4CxIGd4srP4A7YpClN852GNfcjNK/51zcBAOcx87vsskvS2udPjQ99wDtXKsYYEl+TJi36rPmsXBNjCfSKIw2gn4kboYCNwWhWc9lD69vCajSZug1y9+oqHsPDwuHOO+9MQiLgObc0+hrwXN+jue5de69Ab+829zN9j5saIL5+xpc9cB3ITiBgzwbWGBbJ3OGw/vDObcKsnzlnScJqg3sm+zlYUDLlJpySlzzlrQxlKTMD9uoj6HfiYczUmUsdWvY2oaVpbwNe/b5q2Xe9+npSKVApUClQKVApMKIokEEf/GQGVbnOs6fTpptumpQGbHJ//vnnj1q+k1YmoH7jjTeOt73tbcmq0R5HeCsAVNa6z7QcUR1kITQm06XsY3hLYJp117XXXpuUULbbBnB/WMTscyNePyditnBu69r/ORGvt67TfddlnOK6TC9NStd63pVHEb+3MtulSfnKI9exVed0v1FmbkdqQ6POuZ1t69yiRVlGs805fWpDL3RakDorr7syc726yi5okZ91lz7VpXc6dU4/OsaPW61q3Lf5FvO35b/8vnxblP+M4ayEKB/a44ySo7g9HZ7DIaxv7YnW7hDHfGHsU26ZZ/NZmT7X0Rr09ttvTwpv1qnuC/mQd87Xec4zn+d4ff2X3pqWkpz1Oo8KXJ5pZx7Dc3llW/qaf3/jVeC+vxRrxK/AfYMg9bJSYBhSwKBLSux75r+MyxDa8EBv4LeJy0aumESbswBTSVszuApozQA+YD2DqzTjxaeRbyKkLc+9Dk1lLkgE59zWWOyIA0C1OSlw1MRA8t0dkJp9oyuTO5WTTz45CQVIyIHCNhjlFgWYCqBV33KCG4avathW2YSO9pgiewsQ5NB4B3hn4Yp9CPi+ZwHivXtfuZ9lAL/sZwQ5+oi+os/oO/qQvqRP5X5GiNTsZ/qkvqmPyiMLhSyGlFEC9rkO4mGYbLirrqxHCLhsvMZahA99giMMXu1nw7ar1opXClQKVApUClQK9EgBPE3ma4AwQGq8Axd7LEfx0HwD43eAJqPx0G58P+1VGvf4cftL4dky6CMOfmlxgD7D7R2UfQydunWVs+2a0TH5OxGzz4uYPSHi9Qmtc9fndXNdxnFeXEv/eittSl+cd+VXxO+tTHmlOjXSpPoOoM5lO1MZRT1T/ZvlNa7L9F3tKvMQv0gzH126o3MRP6VtXJdlLuI6d04/JsaPW70C920+/Pxt+fdtGcONSdZ+lMgA1Cy2P/WpTyXlsL6MT+JYJ/YE3FMeBLgbA2EnvmmHMZBQztqXD3mKa+U60jpUOmvXEri33hQ3H4Si3BvDdGAj5iX/1rbKXpDD2to+cfaX4zGBa+TsLmdxa91X4H5B3mCRpgL3BTHqaaXAMKaACcegDgA977zz0iaxXNaQOJOyMvvdfPPNk5axhYl4JgwaRqUPfJOexYvJw0SRgXzgO3C0tyC+YIKSPms9m+CAtxnMVa4J7u67707CBtrUK664YtKuN7kwzbUh6pFHHpkmOfmUk+AwflXDuur6mXdHaENIxPoCkwP8xiRxYWOxe+yxxybXSxgY/SyD5xgUfaHsZ/pKf/qZvpj7We5jGayXtzJyP1MuK5KbbropjjnmmFQ3+0DQsrcwdz5u3LjkE5+AYLRtXjSsO2OtfKVApUClQKVApUA/KYCPEfCUJaAKtDn66KO79tqxXw4eRtzReGg3HsuaguUrPo9FJMUKIFUT9BmtdOqub6CH0Oxnb9G433at6Jh8RMTsn7bC+RGzhfI6n/tvPmsXv12cnEeO34yTn3dXRn7eXfre8svP+5o+x8/1yenKeuTzHCdft4vb3b3e0gz0ebMdOT//zWdv1rFzxrExftwaFbhv84E1v60sfAWof//730+KWdyrstIGUvflkGdPwD3rbhZYApevFCJZoVtzWhPzJU9oYE832AVlROMkZTauiydMmJA2yeWhgDcD61hrU+NrPiiW8VhgjFX3fP29730vWaVb4/YXC1G/c889N+EqlNV4TlAnwoHmGJ7rsaj+K3A/QMpW4H6ABKzJKwWGEAVMOlk6O3HixORyhhsb2kPAcCA+P2f/9V//Fd/5znfisssuS8A5zWXAJ9AS4CkA2UuANYP5APSeQgmgyiODqFk4APg3ifJFznzNRilcrfCTb0J53/vel9zw0PBRP5Ji4KvF1aI+Zv/ptfjjMy/F7x/9Zbzx+jwp+qIuczjmr59ZeGCQuLmhZU+rwQaxwHASfZvX8n/PpY04GB4LYH0q9zN9Y0H7GeBfkF+zn7lWFjc8hFQAe653WJ6oGwsBdbXpnLpjtID71Q3TcOyNtc6VApUClQKVApUCfaNABnz8l4AqEAMvbL8oIDVemQICfkLc0Xrgv+1/Zb8plrDbbLNN3HXXXYkHzFr36JjpOlrp1K7dmSZlP2vrKmfbtaNjypERsy+oodKgqw90zji+AvftPqyIrvGm+W3xCkDgal801vsshOAOfTl8rz0B97TljX0sswH1hx56aFxyySVp/Wg9zI2Y8j2zv591p/lj5513TsD9Pffck1yPsVgHpAPuAfjwmHwYX2EjBAJcEp999tlpLesfiA/Qz1r+OU1v/8YcAoKVV145WU5xm8MDA/e3i3sMr8B9b2+rl+cVuO+FQPVxpcAwpIDJx0BtsuKf0uTCR6WNN2kam9CYkfEBR/JLOk1CbPNYQLl0WVM+a0aXQGkGS01IQgnw5/gA/DoLmxEAACAASURBVBy4MwHWEyaQLPMtTsuZD36APaEClz42wd1xxx3ThGZsotk9UMD+L3PfiFef/3W8OPnheO72B+YLL9/fGa///k/x32/8Jeb8eWa8dN8jMf2HV0THcefH7zqfjrmvLfqNY4Zh9+qqsncDwAd6E7LYACgLYbzTvPjln95mb/Y+oKXA9JzFB6alr/1MH8v9LPfF3L/809q36M57M5xxxhlJ+wGDQqseYE+ooL8B8NVHn8dsaYNvph6VApUClQKVApUClQIjlwIZTPUP9MkuFgju8Z0sBim5rLLKKolnWVD3BCOFgvgja4N11lknadzjqfBx+HOKQkCkCty3f9u5rzXBRTRlydDl4z4B90dHzLkoYnYZLu75uhl/jvhlmjbXzTRleelZT+kvikhlFHV8S35levEa1834i6LOb6ljsw6uy3vl+QLWubcyU3llOY3zNuk7Z5wQ48etWTXu23xe5beVx3C4B4UtGuUswD/60Y8mfIOyWF8OefYE3MuHO1fA/eTJkxPofuGFFybchCKaso2VXLsSAJtL4CnwluwzH2ZC21263oB7CnHWu+pl70HjBRwF2N6fwxjNuwGvC9zbwoMuuuiipKSZx3Dr+TyO9yfv/satwH1/KdaIX4H7BkHqZaXACKKAQdhEZnIwaQArV1tttQRecp9DewaYCWBddtll44tf/GKS6NJSNvkA2/m3BOYDRQG0efNPgGsGTE1MNJxtTGpyMbFlqTMJMyk0UNdkQdPZoojJLQ37PLlaDNiglH/zDNibrAZ6zHn1tfj5hBvj0vV3i3OWGDtfuPo/94sX7304Zv/xz/Hrhx6Lew85I85f6cvx0xW2i/u/OyF+98hT8ZfZcwdahRGfXj+zuAWCA/AxTYQwBET6mUBgBDS32Zs9CwiLaABgdGgQ6DO0GfQh/YwbpQzs62fO3fNMXxRX35TW/giYmdNOOy1ZcNhwlqslZSpbPyMY0seVbbNmwiSLp8XBqIz4DlAbWClQKVApUClQKTAMKJABH//m/wz64AfwE+uvv35SJsFH0Ibsr3ZjSQL5yxf4sqACAJYAwBV59XSwlO1LGfhr6wLtzq4SeuK15YnH2mKLLRK/jo+/4IILkjWtfNBncYE+PbV/KD7Lfc27QyO0QrO3AvfrRMfkYyJmX1JDpUFXH+iccWKMH7dWBe7bfNzlt5XHcOMZzIE1tbXfJz7xiSR8db8vhzx7Au5ZHu29994pf0qPPAZQSIN30MT/whe+EJ/73OcS1kLQyZUszARwb40qfxZM1r2Ac+ta+Mhhhx2Wquf5+PHj0/qYxj3g3rjusP4F+C8ocM/qHcZj70AKdjT4ra0zcI+Gxil1WJRHBe4HSN0K3A+QgDV5pcAQp4BB2ICM+abhAZQHoq+99tpJAx+4CtgkhQXkA9WZl62++upBU5q7kz333DO+/e1vJ/9qNJlJirkXAbxeccUVaXFz0kknJZM0G3wyCzNBbLjhhmnC+pd/+ZckIFCOSYOwgEscpsgmOmlNfCaovixQ+kPy3oD7F+6ZHjTv797vlLhojZ3j3CXHpXDBKjvEfUedE799+Ak2ef0pclTGNeFblPBnj1FhWcF6gtaaDc2A6FzUCH/zN3+TNOBpQ6y77rqJ0QGoEyyxDjnxxBPjrLPOSgB77mfMEd074YQTUhxxpaHRgAkhENKXCYT0sdyXAfj2Tthhhx1SPyVYYh6orr0thEfli6yNrhSoFKgUqBSoFBihFMAT55DBVHwnvoDFnr2h8A8AfODKQIAMPO3pp58eG2ywwXx+jPtDWv6OATY0Ons68DgA9d4Obhm4qqRsQ9ECDtAT4A9oJtAYO3ZsUoAg0NAmwoh2wP1A6NVb3Yfb89zPegfu142OKd+NmHNZxOzLI+YIl7Wu/V8eMduz1r103YqT7nteXhdpc5p26bueFWV2xSvKTPGaZbSepzo3yuuK30udczu7ymzFT+mb563yu571UOdMu7Z0Kuqa695VftHm9KxNm7urcy7TeyjrON+1sosyUrwifsrjzTI7Z/wgxo9buwL3bT788tuynqOFDqC/7bbb0rrSOpB7L8C4cb4vhzx7Au6tN42frL8B6fzOE+4aT2Er/Njbg81z7nqA+HAXcwnlSfWk4Mb3PX/3gHuYis1ilW0eosR43HHHJVc5Cwu4hwGxAjBHwGFYndujTl3zGF4C9+qyqI4K3A+QshW4HyABa/JKgWFCAQOxgdmEQoOeCx0ayjZX4fOeJr4NbIHqQHzgKi1loDuQnZsdQCt/+QB3YKjB3yLH5EiiLP0HPvCBsCFMdk0iL5JveXCNs+WWW6bNrUx4NJ+5TTEBWjiYXBf2hNETcH/ZhnvEtJMvjdt2Oz4uWW/XOHfprbs08gH4l22we0w9/Oz49bTHK3jfx37u/WFOMCsWe/zbA+L32muvtNmwfgPIB7C/4x3vSJptAHfa+O4TGtns1ia3NORzP3PunmfiiCtNBusJBOTpGWEBhgnjhDm55pprkvUIdzqYlMWhVdBHctVolQKVApUClQKVApUCi4kCeBShBFMBJjQhaWviY4Ebm222WVJMWdBqKYMSA7CHFSJQHVCTD+tvloPZlSRXBrThHXh19cEbs37lWjBbCIoDhGGdCjzPBwAJP80VA2tEPDUeDL9PgID3kSYryyibL2Z16sn1AtqoK0WMd7/73YmPx7/j8QBl0uLdM1+l3fWYR4F2fc17eKvGPeD+uIjZV0TMuWLev/Pyuqf7nuXn+T+nzddlnPysWUa+X6bJcfKz/F/mV8Zvdz/n0YzXvF/m3dN5flamL/PO98t4+Xl+lq/951DGz+fNeM30OV55v7c0ubwyXk5f5Nc54+QK3HczmLQbwwlfKXtZN8IeYBQUDfs6JomXgfs11lgjWRmxNLJXIA34gw46KL70pS/FTjvtFJQU7Z9mfUsL3joT0M5Fjni0/o2Zxuvbb789KZzR0re59wEHHNDl4z5bqUvH9z0/9PJcmBr3xmdzAmsBQmlrafu3EN5W4L6bDjZUb1fgfqi+mVqvSoFFQ4E82WHqubjB2JMWn3nmmWnSoMVswULjfvnll09A/Uc+8pEElHKpQ3PawP/2t7893va2tyUNav7MAfXvfe97E3DKPA24bwJab731kj97u60DUfkVZyZmscJfHJBXnXJY2K3uCbi/dIPd44ETLoyrP71fco/TdKUzYblt4/Y9ToiXpvxsYVdrROeX3yVmAdOCOWBqDcQ/9dRTw8bDNu1hkcF1DuEPP/S05gl4LA4JkCyecz9z7p5n4ogrjbTyYL6NoWIZQoMB88bVk4UvZi4LhdStHpUClQKVApUClQKVAqOPApk/aQL3lFrwwv/2b/+WlE1oPuIjFvQAeANLbDZ48cUXJ81PWpn5oFWJJ6YhCtixiSIwHRBOycA9FoIsW/Hp6oeXwkPxMQ8okh+wHn8DiAEgAeMBRxRjXLNUZDnAvSWeiCCBq0JWrsAhQJW6dneoD8EBK0fKEvh7ABNtzQzcLy5tze7qOFTvt+tr7YH79aJjyvci5lz1ZphdnPd6/8o305Vx253LN+VdpnF+Zet+m3Lb1qVM3yZNWXZXeWWaVnlt8+4uvzJ9K0536dve76GNZX27zlt06bpu0a5t3pmuzbq3qXOZX3me8n0zfueMU2L8uHWqxn2bD9y31RzDWSWxzqZgSJmLZwFeAfpzEJjyAsB9jXFO+O53v5vGcmMtQYDnNPm5xyHsNS5z4WpsFlicc0Vj/sjWAMZrz9y/8cYb05jOQl06Y7W54Pzzz09xlGNcVpbxwqFe7nEXa7zvzyG+ucT+ghQpCae1T9mLewyvGvf9eXNt4lbgvg1R6q1KgVFCgcxUYsxNeEy4gOoWA/zN06qxmCAd3mOPPZJrEuayW221VQJdgfJAftrNQFMSY1rOJgcTnUnKRMTMl9YPf2omoVzu4iBzT8D9FZt9PR67+NaY8p2z4qotvxETlt22S+P+vDHj4+rP7J82q/3TL19aHFUdsWXk921xqA9gIDA7mBWmhRawmAjCnV133TW23377ZAVC04GJuX7mnGWIZ7vttluKK420zLblRTONj3x9WZ/O5Y5YwtaGVQpUClQKVApUClQKdEsBfEC2AsTf4hMyYAFwxivgS4Hl+AgWo5RRaKazTF3QA7CNl8afUJIB9hx11FFJm16eAHT8svoA+PHaQHoAO5c9RxxxREoH6HEf0K5+NDZtjAg0wv/IA2/FnzK+HajPBSFwHuD/gx/8IIFP1vvypv0PdKJ9z12DfGmAd3egHUUb7hwINVjf4tVYE5Sgj3M01J5M42xB0F3eI/1+5kFLgLE9cL9+dEw5IWLONaM0XDtK293z++6ccVqMH7duBe4j0jht/WhjWMFaLytl5THc+AY05wGAqxwKXQDz0X4Yf+A7Rx99dPKmQPnNeA6XyWO4cd45Cyz+8K3RCZL7urFvX2lcgfu+UqqbeBW474Yw9XalwCiiQGYu/RvgTYIkwcxrmeJixmkukyqbLA3mxg6LDQM/bRyMPUbeYsXkyVyXhLh0gZPLWZyknfPqzHj84lvDRrQXrrrjfOGGbQ6Nl6Y+En98+sXoOP78uHyTvZK7HC5zLt1w9/jZWdfEq8/9anFWd0SXld+/fxoAFpsWdoB2DBmGQR8qN6C1aa1+ps9ZbHsmjrjSSCsPiyF9tyxjRBOzNq5SoFKgUqBSoFKgUqBHCuAL8Al8xW+yySbBRzs/xVy9ACsy6IN3pRmfgXv7NNmMcEEP2uyUWQgLAPfcKgBL8C34FMA9S1e8kDrgr12Lr1zWr4AU4DrgnhCAewaKD/gdB8UY1q2AdxYCGbjnpgGopRwAPfAK2KUswD+tVLx8f4B7WvyAe/sGERZk4B4fRwBinYB+6MvNBMUKQoHRfGR+VB9Ee/2tPXC/QXRMOTFiDgD7uiK4bt2b7X7xPF0XcZvP5TO7SJ+uizya6bvKLcvoIX0zv5y+LLNZp7ZlFuWlPHsos236ok29pe9znZt0La5TO5t1bF4XdWpX597o0nreOeOHFbgPnmr/O2EK1157bbLk59rXeGpNmMdP35UxncswLlVZaW+66aYhzWg/jD8wGjTjBtk4zvIdjlMC9+hHy3+jjTaKlVZaKQlozUcL86jA/QCpWYH7ARKwJq8UGIEUMElmRtOkiCkXMJ05WGjkkO/leNLkIJ/BPP4yZ2688sTz8fSNU+KJK++cLzx7W0e89vLv4o3Zc+KPz7wU0069LC7beM+4eO2vxc9/emP86dmX47/7aZI2mG0dbmX3p5/lPua/2c/0scHuZ8ON9rW+lQKVApUClQKVAiOdAngDwD1tde717N0EFAc84ycycE9JhWuD7CoH+L2grnLwvwAQea211lrJapC/5c033zy58sPDAO65sXHghdQDmAL85u+eNr36ZeCeL2SgOyUacR2Ae/v/AOlL4N55BvcB9NzxLChwrywAWXaVQ5uV+wjCCIo5GbgHDPHNzKWmdvOnzBf/aD6815LP9T7bA/cbRseUkyLm3FBDpUFXH+iccXqMH7feqNe49w0Zw7lbNX7//d//fbK8ZlFkrM1jOIVB4+dAXOWMxPEKjQh8uZLNrnIOPfTQpHRZAvd5DLdXHDrvvPPOyXpqYdKkAvcDpGYF7gdIwJq8UmCUUSAzos3/oUqGv8x5I/707K/ihUkz4rnbH5gvvHzfIzHzN6/E6394NX7382fi8Utui8mHnRV373tKPH3dpLQp7Z9f+l38ZW7//MkNVVoMp3o1+1e+Hk5tqHWtFKgUqBSoFKgUqBQYPArgHVjlcSHDP7tNC4HmXAeUwD0LU+5nys1p7cm0IAcLQe5oaPYDzbmLvPXWW5OrnC233DJpOXIxmYF7Zagn4FsagDzQm9AhA/fy4PaGMEFdAS7KoH0KQO8OuAfG8JefgXuuBoFbfdW4B8zDCmzIaI8he18RKrB6LIF7wBAte/tgAe7322+/ZC25IPQbKWky3+o9As96Bu5Pjph7U8ScG1vBeQ7u5fMiTorf7rqM2zhvW0arzK78cp5l2macVp3mS9OM37y+sdXGnH95XcZtnPe3zl11Wox1nq/Mm/r5LnP8+enSOePMGD9u/VEP3BsPjOEskYD273jHO2K77bZL1kmEoBm45ymAhv0KK6yQfNznzWkHazwhHDbWGq99/+0O980XXKoZT7s7tNFYbvw3Jpur7GfSk5uznJcyWK7nzWkJNrgzlp8y5W1sUg8u2lidGcf32muvVEbOZ2H8V+B+gFSswP0ACViTVwqMQgpkZjT/D2USzJ01O164e3pMPfwncdc3TpovPPC9CxJgD7Sf/sPL4/bdvxc3f/mIuGHrQ+KOvU6MKYedFc/cOCXmvjbPLHkot3Mk1i33r/w/EttY21QpUClQKVApUClQKbDoKEAj3UatY8aMibe97W1J8522JsAigz5cO9oU0Ib3//t//++0v45NXRfEmu+nP/1p8ifMlWROj48hPKDJb5NY2vclcK/13OsASwDg6uzIwD2XlPwO23sKwG8zQ37sf/SjHyXQpfRxX2rcN4F77nvkz3VQX1zl0BBHK/tb0cLkBsfeRNwqlMA9YIgLHfsDcKdDK5+m/mg+Mu/aO3C/UXRMPTVi7i0Rc1rBeXmd75f/zefN6zJuu/NmGX1J34zTvG5XTnmvjO+8vC7jledlnGaa8lmZpjxvxmlel3Gd91RG81kzbb4uy+hrmpy2VYfOGT+uwH1rADEeGh9Z9BjD7XlGmFmO4eIA99dZZ53k4954T7jZHWje29hEEEAgmTf9JjxwsM5SF+M7HJU7GW5d82EuEQewzv2ZjcXVQXrgOEEqyykAvPtcigHSgfDGUWO9jWiVwQWZNirHvoEsnwgEuD+zl4g69nYQbhAE77DDDsmF0Iorrpj2XJFPCdyrB3duaPyud70rbXJetqu3cvryvAL3faFSD3EqcN8DceqjSoFKgWFPgZ42p+X3/oV7pqdw03aHd21Me84SY9P5JWvvEtNOuiRm/7H7jbuGPYFqAyoFKgUqBSoFKgUqBSoFRigFACJAEBqYtDVteE9jEXACFKG9DlSxKaxnf/u3f5tc3PCX7Hl/DmAtwJ+/eYBJeQBk3OcKB0DS9KFPM5PmJWA8H8ApoAswiLuIc889N4E3++yzT9LmVHeHjW9tpnv//fen81xvADs/91mIAPA/9thj44ILLkgAEt/66NDdAdiR5xZbbJG0Xfk/JpgATJXAPZCKawU+lD/ykY8kwQXwaTQffQfuN46OqadFzL01Ys6t8/6dd13fNu++Z2XIz+e0nufrMm2ZX1da8W97s5wUp3XdLn6ZXy6j1zJ7qfPcZvlFe5t1SGX2s85dbS3z7Y1OxfNmmWWdMg385/OyvBw30ajZzoIubdO/WYfOGWfH+K03qBr3EQnUBlRz4/L2t789WC4Br41/xi8Cxgzuf+pTn0rjEAsrgs08RvZnLAKIE1gScBqzjbsEp/YoMR6yQOK6Bwh/2mmnJYA+j/fqaYNXwRzChY90BMM08AkT5GtMtvkrsJ4w1jyVhbEstMQj3LW3m7IJQ4Hv5hGWBfLPAt6e2qZeyrbhuk177UOiTdlqylxB454AguAYaA+85xOfZdrCPCpwP0BqVuB+gASsySsFKgWGNAUqcD+kX0+tXKVApUClQKVApUClQKXAIqMAgBnIsfbaaydtesAFlwMAHaAF0AdwD6ihuf6P//iPscoqqyTQpy+uCBZZxYdAxtoPiEI7Ao3//M//TIAVIUIGzQBDkydPDhv62hQSYAaAIjQYzUffgftNomPKj1pg+u0Rc1shgeuA3+J6Tvm8OBenGT+B40V61ylOzk+aIo903kP8rjLKNGV8910X9xJ4XcYvzrvyK+I303fFaaVTx4VS5x7KXJA6l3RtW+cGXUoaOW+TvvPhn8T4rTeswH1EEhICzLnBMcZsuOGGaR8RAHsJ3BuHvvSlL8X//b//Nz760Y+mcYjQs78HzXj7lFxxxRVJqx1If8ABB6R5g8DABriEv4StLJcOP/zwJMxkXcPdDOEtINyG4vYDkeb4449PAlNpjjzyyFQ3gDrwf/z48QnE32abbZIbIC7WbJjOFZo6vPzyy0mwTPBqTAa8u28c7u0AyhMWb7bZZslVHOErd2xZ+JqBe3F23HHHJKB9z3vek6y61H1hHhW4HyA1K3A/QALW5JUClQJDmgIVuB/Sr6dWrlKgUqBSoFKgUqBSoFJgkVEAwExrHXAB0Fl55ZUTsAIAKYF7bgEAF9mX+wknnJCAGQDsaD0AY0Ck7EJo6623TkATMKwE7lk0bLrppsm3NBcVLAf6AiqNZLr2C7ifenrE3Dsj5twZMfeOViiu57hXPEvxPL/jzdBML06ZX04j/5RfK89mnPysu/R9LTPl00OdUzvb1LFZn9SuftR5IHQq65zbmejVonV3de6pzGaalG+RX/leUlnz3kvnw+fG+K03qsB9RBpruBhbf/31kzsum37TRjcOlcA9q6msNW6/kqOPPjq5m+nvOAPsJvA1/gG4AffmBmA+EJ6feIJJQD2XYNyg3XjjjSkNgJ9VEiukDNxzI8aSioY99zi08Ak6uT5rAvcAfm3SNpZUXPVwrSM/7nLUqz/AvTlOHtyc2eOF8BXoT4AgrwzcizNu3LhkrWCfEhr/3PwszKMC9wOkZgXuB0jAmrxSoFJgSFOgAvdD+vXUylUKVApUClQKVApUClQKLDIK0KjnjsCGsPy022CV72FuBjLoA6CxYavNYd/3vvfFBz/4weSznZuC0Qrcazdw6rzzzkt04wZnl112Sa4i0KsE7rn9WX311ZMrIvTlWmK0Wyv0HbjfNDqmnhkx966IuXcXwXW+V56XccrzZpzersu0znuL33zeW5p28Rd2mc0ymte5jmW5zTjtrsv4zfN28d0r47W7Lu81z8tr+dwVnQ9PqMB9a1YwhhOs2iOERdRKK62U/LQTDuYx3HjD/QxXYDZYpTW+++67J6FtfycXbmTOPvvs+Pa3vx1XXXVV2lycKzCa6oD7pZZaqgvUzi56bMjNLRn3OKyUCIszcG/cJMwkEHCwUrLPif1GmsC9Tcgd8j3jjDOSmzf+6BcUuEcj47F5jbUCiwTjNSszY3gG7rnf4WaIO533v//9cemll/bJh36qbB9/KnDfR0J1F60C991Rpt6vFKgUGAkUqMD9SHiLtQ2VApUClQKVApUClQKVAv2nAGCCViTAApjDlQtNTMBFBn2AJNwC0KgEygCHbIDI9UL2Xdz/kod3Cu0m8Nh///2TpiYw59BDD03gGHoB09CW1iafzehm40juHYA+GaQa3lRY8Nr3HbjfLDqm/jhi7j0Rcye1gvMc3MvnzTg5fhkn38tp+nudy+gtfbPMHD+nbz7P17k++bq3+H15nuP4z+e5nHbX+V6On6+7q1POq7vnZfocJ6fJZTSvyzTl+bz0nQ//NMZvvXHVuI9I44wx/Ctf+Ur8y7/8S9J4B3pzIZPHcMC9MdxYtMQSS8Q//MM/JO1ywHt/N6i98sork7Y7DXdzAG16GvftgHta91yxcXNDQx4oTuDJQiAD9/zT87dPIGBctWm4ttDC7wm4Jzzgkgdwz5rgpJNO6rfGPWHGgQcemCwV/vmf/zkIGLjoMYZn4N6/uW/ddddNYz03Q9psfF+YRwXuB0jNCtwPkIA1eaVApcCQpsDcma/Hc7c/GJMO/FHcustx84WpR/4kftf5dAoPnnjRfM/EveeA0+Kpa++Jua/NGtJtrJWrFKgUqBSoFKgUqBSoFKgUeCsFACUAk69//etpc0NuAL72ta8lFwjAZwHowyUCQGPjjTdOoA8AGlADmAbOjLYDXW666aZEjwzI0wAFIpXAPdoCuD7wgQ8k0MfGkTbKHa2WCrmf9A+4Pzti7r0Rcye3gvMc3Mvn7eI00zTj5zQ5j3bxm2naXZf3mufldS7PvXy/PC+fl3XK5/k/p+0ufvk8x8lp83UZp3leXncXv4zjvLwuy8rn5fNm/OZ1z2V2PnxBjN96kwrctzTUgfIEh//+7/+eNOq/+tWvpo1bjVPAe+M07XKa6cbwrJlPg52FUH/GI65ugOSEAIB1rmUIcrnnaWrc+975xLfhOHdskyZNSuB8CdzTZqeJf8kllyQ/+TYHB+QTCvQFuNd2Wvz77rtv2pyWr/u++Lg3b91www3xmc98Jv7P//k/8fGPfzz5rrfBbQncm/tOPvnk5BKNxj3rKeUt7HmvAvd5dljA/wrcLyDharJKgUqBSoFKgUqBSoFKgUqBSoFKgUqBSoEhSwHgA2CeP+Fll102bbK63nrrJS189zPow+cvdzl77LFHcpXzH//xH0lTkVbnaNS6B4JxKUTT/u1vf3vyyQyA4vcY3QBmNDJtwpj9SttDYM8990zg2ZDtEIupYn0H7jePjqnnRLwxNWLulIg3pkTMdd4Kba/Fy3HEb1x3PZvayq+VZy4jx8/XynhLmpx/kUeOL7365eu2dWw9z3FymaldC6nOmUapLkWdlJnqlNvVKq/XOrfid1fnt7SzDY3KMnKbc35vSd+GDq00nQ9fFOO33rQC9xEJQOYf/uKLL45lllkm7aVhk1VjTzmGs6J64oknYp999ulyebb33nvH008/3S+te2UB7vnU//znP598xAO/TzvttKRRTzPd+JgPggEgPK17gL2Dax+b1r744otprLz11ltjp512Sm5+uGSjdc8qCdC/2267JQswrn34r3dol01uafMbc2neb7XVVsl//oknnpgAefXs6SDMUOell146Afc2Geev/1e/+lXXGK4O8GBCAcJXY/gOO+yQ7vWU94I8q8D9glCtSFOB+4IY9bRSoFKgUqBSoFKgUqBSoFKgUqBSoFKgUmDEUAB4T3vSBqp///d/n4AMmpMAkQzc2wzw+eefT5qHn/zkJ5Nfdxv50U4EUo+2A/DEy/sbkwAAIABJREFUrQIgh9sJwA5wCp0AQugGuOeKAp34wH/ve9+bfDmj42g/+gzcf2mL6Jh6bsTc+1vhvoi5QnH9RnHu2VuuG/Gbcd5opHGdyij/eyuj+bxR5lvK6C5+H8t8S345XZlved5oY6JBrmNOm6+lE7+RJtGl9Sw/L99DolkPZbbNr1lmD+mLMjsfvqQC98UgYry5//77k2/4v/3bv03a4TTjCVyNz9y9ANBpp9tY1QaytO7tbQLg74/rLvMFjXSa6DaSlb//bGnkfqmN7ls3FgLzczn+CRK46fFc/dWVINh9wuB8HwAvP/8Ae4dnxln5eia9+co97VSnsg4FqbpOCaKN28bld73rXck9jzE8lyMP+d9xxx1h4/G/+7u/S+7kgP0sqRb2UYH7AVK0AvcDJGBNXinQTwoYqO+5554kkTUAOwzuFhB8mTHTdRig+RvjW5I5GG2W7373u2lRkTV/DOoGb1JhJsBMfw3QTLBMCg6bo/DlScprcxTB+UEHHZQmQIM26fT3v//92GKLLVKwOYkyL7vssjSBKMeExSzr7rvvTnVgpmWjFWkdeYLh302ZDhOcSVZZpMnKPuKII5IUV/sc8jNBoIW6qAdzMhNJPuQhHvM3G6yMHTu2q665ziTid955Z6qj8vrrzy6XNdz/+cDjX4/ZXnmQrjN7I2nXZ2y4hs52ry8nfnSjBcAc8Qtf+EIKzP+YS+t3mCR+/jLd8z/TaKbS/KHqi/z75QOjwmzaIlC/1Nf16/JQJ2n1eYtCh/KmT5+e/NJ695gVh77DVJvJYe5/6UHrx0ZqtDIy8+S2vkVrQRr56rvbbbfdW9rhG8T0mRtz2/K/7+JLX/pSPPvss0nzgck4IKA80F4fL2laPq/nlQKVApUClQKVApUCi58C+Aj8Cz/3tMj5HcYL4Sky6IPX5VrAJogAfuAP3hePis8dLQde8LrrrksuFgDyrA+sNfhLxsdl4B5d3Cfo4IphhRVWSK4f0HO0H/qLgB9ETzwpXhQwh0dmvWBfgO22BdyfF/FGR8Tcjog3HpgXnOfr9N94luI/EDG3FXJ61/KYL33rWpz0rE2c7tKX+XVXZs5zvjKVVdY5l5nr67rVxrKMrjYXde5qY6NdXe3MeTfLbF3n9Kmckq6N/Lqet+qYrnOcVhnt6pzbmcpplNlVxxYtcpwy75w+0/GNjuh8+NIYv/VmVeO+NZBYuz3zzDMJT6AZzmUOzMO3ZLwR4A7Wu3CWTTbZJAkcjU3WdhkcHy3jkjHH2t1aHmj/oQ99KK35yzHceGQ8J+hYZ5110hg+ZsyYhLmg5cI+KnA/QIpW4H6ABKzJKwX6SQGANPAQwAcAJJ21AQhzKoDjo48+mhYIAEHmUgByfsdsYMK3GvDeoIsZBLAytwIg8pUmHgYagMovJ3DToA0wB74CxeXH35vy3DfhAXuBjePGjUsLGRu+MMNiVgwoN/gDM4G8zLbUkRkVH3LqCXRVH4DrZz/72VRmBu0PPvjgVC91UvYJJ5yQ6kyDyWIJwErggBaYWcAozR00yYfFg3JJiSdOnBjHHHNMHHDAAWn385VXXjnV+cgjj0zAr/w32GCDLkl2zmO0/APH9Ye8K31uN8GHvsMkz4JLXwJc6xc0BzBEDotY/dO710cIYrzDY489NvUnALy8MUvjx49PGg/MEC2AbeZDar/SSiulvpnL1seYWxOsWORJz1yvPHwHnuvP6uOQjqBh1113Tf1Gv3NgzrRT3SzEm4c26c8YknzoW7TCpLF4Yo5IgEWAoO45aJ860s7AGDKZz898F+iifvojk0ggAMGEb8SBrgB+176JelQKVApUClQKVApUCgw+BbgsoJRg4z0a5OZq/C+eKAOqwB3KJ+Z+vvABHhRn8BylQsngt2bR1gCtKP0Almlh4tkIMKwF8Pz4MDw8vgw/+MEPfjDR1Doir1EWbQ2Hfu54QKF34H7L6Jj604g3HlywMLebdO5396yvZXWXvr/3+1Peosy7XT16Kq+7Z+3yaXevu/Td3S/y6Hz48hi/9eYVuG996r4jOAMsYvnll0/a9HzKG29gDnkMt56EMVg7AveN4zvvvHOKZ9waDQdaWcta96+44oqJVqusskoSxsJb8hiOHjTrrfNt6PtP//RPSWhNKW5RzHcVuB9g76vA/QAJWJNXCvSTAiVwzw+aTUkAgzSAgaaOGTNmJF+SwNasOQ8IJEVm8gXMNDEB5VddddXkpzMDh+IDT7NPNppDFirTpk1LTLb8MdvSfuxjH0v+PC1cAJHXX399V2uAm0DI7bffPtXBQF8C9wBLZQBaaTIrvwTuTaSEDbTfTR75sCs8oJdQguS8CdwD8QG/AFXtlW8G7kstckAsCTFfmuVB4DCagXuTMJCcAERfs2gAyrPCYPXgHHPD/x/gnoCH8CX3M1r5JnqCE/ek108JcDBCeSLP/e/LX/5yssDwDuS7MIF71ieEPcD5r3zlK0nYhRnRxoUB3APyMS/tDpr+Fqr5m2zG8b1oO+EFywVaemhVgfsmpep1pUClQKVApUClwOBTAI9C83LNNddMbl1o0+MD8KgZ9MHHUoqhBALooG0OJMKr4klH+oGPwf9TLrIZI1cT3CzgH/FkpbsIawk8Hz6IgON973tfUvKobnLm9RK0FHoF7r+0VXTcd0HEG9Mj3phWhAW5LtM47+laWT09b6Zvxu/uuplnb21qxu/pullms47N62b8fN1TGeWzHN9/Ds0ymtfdpelf+s6fXRnjt96iAvetQTePTZdeemlyeUag+IlPfCJhF+UYTvhKwGj9aKxnObXccssli24KYb7HkXygk3UyZUfa9v/v//2/JLywZrV2zmO4OAQe7m277bYp3oc//OEE4nPnk3GlhUmrCtwPkJoVuB8gAWvyEU0Bgx+g0+DlfGEcGbinuUJLnv9IgDit3XxgjldbbbWk4Zzv+bewoDXPhQ1m2f9xxx03X1rxgJE2VAEu0oIGnotPqmrSoiEDsCWpNrkBRpvAvXyA/qSwAFsAZgnc01gmYADC02IG5JbAPa1tz0wMJe0sCAD2NJ0ID5rAPc15GjvqnN2mVOC+7AW9nwPiaRp4t+jt3aAlDXoMS36XQGab3fD5auMe74nAhRDJewBeW4DRMG8C3IsauFdPfUg7CGloS/hmspbAwgDuszDCdyHQMKN5hw6EFYRiGJ/83LeTtet9L+gkj49//OPJkkFfr8B97/2zxqgUqBSoFKgUqBQYDApQlqHYAMz513/918RD44nx1+Z/Cgt4HnwnxRWa+X/913+deBGWeIsCzBgMOnRXpjUPAQWFIhsaohNeyHoD744+6JRBnwkTJoSNGrnJER/gby1Qj3kuRPGTvQP3n4qO+y6KeOPhiLkzIt7IIV8Dht17uBWK5+l+8byZPqUp48sjA82tPFMa91r5d+XRLC/XwX9vZRbP29WhLKPrPOevXOf/n73zgLOqyPL/f3fy7nx2Z9d11M/OzjjOOMHRMaGjjgkzKsGECjRBwThmRR0wgRkxo6gESRIEQUFBiYIg0C25myYjOUtOHc7/8633zuvq4r7Q/UC6m3M/n/tuhXMqnFuvbtWvTp0K/V6aYZn3yUP5NQ2eIb/ShPVUP/TccX+inPpelN/PQ91ahzBPL73IMpfRF8z52ID7iI4EjATlwSOOOML14cxX0RBnIZF+iT4KcJr5LXNHgGsWYFEAw/QudDX5og9nvooiIwf5ssBx9tlnC30181zkw7waWbHIQZ993nnnue8cipNgCAD6Pnazv+RlwH2WkjTgPksBGnuNlgCdGh8DNeOyPzoxBe4xKXPJJZe4iQEguGry0OHyUcJmOIChf8ELAItJHOzCY1oHcJ0O2L/woylDJw1Aj0kPTl/nRHQG1qysjhkzxh2QQn7JgHvAfkykoK2PBlII3APy8mHEPA/l8YF7tJAxpxOubONnZZyPCIsKUcA99aN8fEDIA40ogFLTuPffcnI37YZFERaGAJp5R2gosLMCIJ93RTwr6oShVcYiDHHcfPDRuMcUElvKmZQxAPCvAw3c899jZwmLDbRRdoNgX59BF3H7A7hnC/hRRx3l7N1i8xZtMf5TpI9JoZ/85CduYEgcN9sIGQQiX9ojID1b6hn0sFUckN+Ae7+VmNskYBIwCZgETAJVRwIoorAL9Ze//KX8+7//uwPxR48enQAyACwAMxh7Mu5hnPCjH/3Iab0ydmLcVJMvQHnG/ldeeWXCLjJzFMbfjN2RD2Mk6ACB2rZt63bvYmIBhRwUQ3RnZk2WUyZ1Y85YIeC+ZI5Icb5ICfec2F3MM1+Ep3OrP07jwuPxjt+j83l8t0vP5/Hy9OnUzVN5EnlE8O9D75Ulit+vo8sjTh/pJr+IPBPl8eUVd0fl6aft87rwePoJmnieCbrgvSToND/KH5SxnF/lGFFPlYUrcyy9gjmfSE6TeqZxH/zZWEBEqRCb7RxSW79+/YRNdhZg6aN05xRa9+ecc46bz0GPJQCU2mryRd/M3B650C9jLgglOJTxWNBAAQ4abmSB8iVnmLBIiyUFxQMOhIwMuM9SqjUFuGcgxfZH7Fg9/vjjTqM4BAyzFJWxH4ISQAsZu9as7DLQB0AGwAYYB0ysDJCvwD0mZgD50CJGwxzb2oChpAlwD1jKgoF/sUoMGIvZEw41AvTGnnmo3cJHi0E34CJaMg899JDTDMaGOGA5ZmgwlUJZyC8ZcA94i9ZNMo17HcgDqKJdD6jKggOgMAsMDPY1D60HcgP4BBRGoykKuMfUCxMCNJqRO3Y2Kwrc8474GOlBtuFhqFqeqvDkY8qiCGZ/sKHOJJJ3z+SoMtpdyJx3wQeYdEiTwQvthA81W+c4cJV2x0SLrXFoLHD6PH0ph8QyQcNUEwtDLADBD/jPSj1XFHBPviwSsK3cPzSW981iDJNB0sXGPav7/v8HDTcAcLVxT74s/LDzhIUm2jP/CXjTAfcM6GgzDOD0otz813wb9ywK0K5YIODmP8WAEJnzn2DCzv9L4/k/EE7+8PHNQWbIonXr1q4tkz4y3Z+7dLQO9jQJmARMAiYBk4BJoPISALRgNx8HFrI4j/1flE8AnBkzMHZkvMAYlHEIJgUBNNDuxNQAGvuVGZdVvsTfHydjOMY0zKP/8Ic/uHqjYMR4B3kwhkQ+jCMZyzFmYyzPrgR2HjJeZzxUU+VT0TfBGJc7vcb91ZI3daBIcYHdJoNEGyiYM8yA+4g/HX0Q89ILL7zQ7fShr8IaAVgF8zPtw1GIpI8CtKb/Ruses17MscEiauKF8h0micEUAOypM4qbKFOyg55FaV18pQ9HSRILDXzj6MOxdkBff6D6cAPus2x1NQW4ZwUJUIYtIYCFnCZN47XLJJCNBAAw0VL/zW9+4+yosXrJoaho5bKaCSBJB1iRDo6BMZMGbjR60G7GVjsHxQJ6Eo+ZDgBwQEIGyFwM/NCeRuMXIJFFBYBvyodbF6r4aLFaCniIljI0DKbVxj3gP+A9IDGgOZOYKOCeOgHIY3Oezp2DbkONe4B70kP7mYkPZeOwWCY7aB9jxgeNfwV7qQcyY8UbgJZyJgPukQN5cigYADN5V0TjXsFVDrJl8QGQtapevCeAabS6Tz75ZHe+AfIBKKePZvBBfSrSzpAVE062dmOzHpMupAGgfvvttydMNCFXZEQ7YoCDpjnvBwBfBza0L94ToDRtgSsKuKd89L2s3NMmtE0yiKBtsCDF/4WFGRYO/Dz4rwGSU07SZvDAe6cNUUZuFhyQC+0ilcY9tNSZwYdetDUGLvzX+DbwnWAhjvYfdWVi4542xWSfegPqsxCA+SkD7qMkamEmAZOAScAkYBI4uBJgXMJOOcAcTAigeY/pHL7hjFUZczMuYBzC+AtlGWzh/+IXv5BatWo5JQe++5VV3jm4tU+eO3JhTIaZBM73ob6cg4VSgmpqqnx4Mn9hPsShtGh1XnXVVU4BiTmBr5SRPMeaH1Mx4H6QSHGh3SaDRBsomPOZ5DSpbxr3QVdBX4VyGgqImMFB6x4rA2Ab9NvMdenDwUyYC9OHg01g8oy+nLka4TrHDZKv1l7m6PThmMBlRxm7DFDe5CxC4ui7dfGV7xvKqZiMA7inD4eXb+CB6sMNuM+yedUU4B4wiEMVAYP48wKoANqgPQGocqAaYJbiN/YqLgEGq3Xq1HGd3w9+8APX6dPBse0K4BuNcLRvAEP5QAA2p2trCtwDkqINDT0dKbbXABwBJAEm0ZJmgQDgnTy4cTPZoAPmwwUYj0Y5iwCsmkIDCIwm/zPPPOM0p9F+94F7RE760PB/wbYn6QG8o6nMosDQoUMd+M42YTSx+bixnYryoXkDj26dZZBOWQD/0czhoBj4WUyjjgDvAKRoW1M+dgvAC6DMhzUZcE85AVjR3AcM5WCsigD31WlSxWADzfJ/+Zd/kR/+8IdOg4CPLW2vTZs2rh3Qv6ENjsZTJn0aEzDeMcA37ZSFJhaJCAMcZ+KpF4MctPNZZGHRhXfOog1tgTbHAgJtkXdFW+WKAu4Jp/0CXENPO4AfsBwQHk0u3gttge3VlIO6Q4NGP6A8AD71vOeee5zWvP9/gpY2SDkA4lmA4AA51YgnHeSD5jya+ZQBN/8J2jILEkzYFbgPNe5Jh3jaLu051LjX/wUaC7RLBe6pN/9rzEph3smAe9dE7MckYBIwCZgETAJVTgIoQzCOQNkLcIODC9mlx9gD0II5JWMJxkyMvZo2beoOaAWgZpzLOIo4vvs15WJsx65c5hjUE+D+6quvdmMd5tPMcRizIx8UcAB4GO+w+HHiiSe6OQcy8cdsNUU2la0HsuBmjsS4nbGn7upAVoxPGWe2aH6N5E0dLFIyX6R4fuyJ2/cnC1cajddnqnCN4xm6fT9phelpfKpwjdNnVD5+XPGCsjoTrnH6TJVnmLbPo3z6jEpbw5RPnz5PmIfGZRIepqe8mq/6NS3PXzBnuOQ0aWDAfcQfkHkafThmd3/2s585s65gHSwo0kcBTtOHMxcGe0AJEdOo9Gto6jPnBAupTlhBhBjKBTGXR3kOfIoFDb5tKJwyF+bb5vfhfAPpw9nJzoIGi7SA+CjaHcg+3ID7cq+s4p6aAtwzeOIPyEGfbPkA0AEsBARiwAHIxB/YbpNBRdoAHeDFF1/sOrX/9//+n3AruAqQD7h63XXXOcAO0BAzOrS1VBonDNwAANGuZ/DLxaCO9oudbFaG6TT58ACks2qKWRG2OrEoBXitkwXoABEB/YmvXbu2owcUVc1oQFLATv7rykeeALlo1RBPPQHY1ZY3JqfYPsziAfKifPyPKBvgJgsVaEQDxFJXLgb9fBxZDMDsDxdlY+GAMD6U5IfWNIsM1I+L9NDaQRaEAbgCIOtF3g888IBbWSc/vaBlEYEtvf6FNjd5ZAJuQ6MTtIq0i/1NC0jOBEjbGM9//dd/FdoYtlXREGCLttr+Z7tbuoUi2hkfahaZkCfvCVCdsxUApfnA6wUtaQNG077Y8cHHng85W+2wgU9b5F3oxbul7fBumIDoxaSENMiH7Yu6AMGCDXLjQu4A5Py3iOdmxwEa98Tx3wDs5+lfDNQIZ+GHunBgmrZZnmh+0efTNlhsoM0dffTRzhQQYDqDPC7qS/uljfv8uJm0MlFnYSmM+9WvfuW2ErJghgkq2h//W71YDEHTnwPtqIddJgGTgEnAJGASMAlULQkA1jCOBeBAGeewww5zY3lMKABOq6kFxvN81xmjMX4FpMYsDONtQFdM/PnjoqpVy8xLw5iIcQ3jInYYM+7kTB8UgHxte+TCzfyBOcNPf/pTJxPMTzDWZ/xnV5kEmKNx00YYEyLnaOD+WsnLHSJSAoC9UKR4Yezp/AsCvx+vdPqM8yfSwO/zQxf647zl8tQ84vyJ9OL8+BN3FmV2eWZY5kR+Xt6VKbOfZzn+JHIJ803w+/WOyymRXpSc4uVO0Pj80XUqyP9ccnKuMuC+7C9VzgXIjHIbu6YA5Nk5DhjNXJN5oGrdgx0wXwNLQbOcfhyskH6dPr4mzNeoA3NvLAxg8gYzcJjBRSGO3e6htj07FthNpYevo22PchyYyIG8DLjPUro1BbjnwwgwRUPE1jYAJn/QG2+80Wnqsp2GBmq3yaAibQBTI4CBDGJ9UFXdhGM/jEMtATcB7OgkAbB9kNz/m9JWAU1pr/7HAjcfGwbFXNDhp7NlZZQJAsBluDrMgJAPD/Hc0MOnkwny4ePFgJE09aJ8pEs8N0As4LnerFLDp+lQPjp0yk4ZyMMvC3SkQ/46eCcMN2GUjfyoA3RaFtIjLdInjDz44PoXZeMmP72ghQ5e/0J+5JHJRV3feustp/1dkXaxv2nRamLyqO3Kf7JQ9OMf/9gNSvgIszqOWSXM1jCh4r1GXcgHeSFz5IQfWmTDu8evF26VOzTcvDMAeRZsSEM17ZVH3zfvxW/Hmi/5KD/vnjJoWyINykA46XOTn7Z92gdunv4FP+HkSRkpl7ZXnqRDOGWgXYXpa7sinnZDG/f5ceuCCOUL4/BTJ/IgfdLz6468+c/wf7TLJGASMAmYBEwCJoGqJwHGAIwjAJsZUwHkoKgAcM24gPEQN+MExhnsMmWHHpr5jMcAO1A24BwgHbdUvVpmXiIWMagfmvOA8SjvMG8eNWrUPnaRGQex2xBZsEMUxRJ2PuoO4sxzrfmUtDNuxq6MFRk7RgP310le7iciJYuT3EuC8Ch/GJYsLcKh9elDv9KkS6Mi8WEeoT9VWloev8wa5vNFxfthvtvnU3cYjz8qTOnTPTPhj0o/FlaQP9KA+xTdBP0zi63nnnuu68P/+Mc/ujP8UFqjX+aGhrkgmvjsimaXFRr67CpiNz9mfZm3VeeLuSf9L304CmngUmAKYAUoUhLna9szj2Unvu5WgBalMxY46K8O5GXAfZbSrSnAPWKgsTHQwuwHZhHY2oiGxF//+le3hQa7y3abDCrSBtA8YasR2s8+mOq7iWMgz8AfAJ8PCJrpChJm+Rc19gMoAT7k7GJgq2pF2sX+pkWzm4GE365CN+2MCRUTRjTU0VbHBEwIbh9AcR3SSfN/Vs0MFjEA9u0yCZgETAImAZOASaD6SYBvOIAGOz4B7dHYROkLW/eq8KAL8QAd7BTFhB/gEEo7hx9+uDu7h3OB/AX86iQJgGTMYGImCHONjC8B7Vu1auV2BgPoo4TBmAcQDIUFFJNuvfVWV39sS6OwBHhGnF3lJVAx4H6oSMnSOFDMM90NuJuOpibHH4z6f795FuSPlpycq03jvvzfKuGj/2LXMwqTKLbRHzE3Zkc0ymBggvThgNYodrGbGuVeNNLBbTCdA1ZIH15dMRtkwHeMw3nZYc/uMbCrJk2auF1hgPHIggUM7cNZrMB0ELvI2YHATgW+b8jrQF8G3Gcp4ZoE3Kso+POxXQQTHGq3GxM6+1tL1tKr+dr7mWjcA9hjjgOzHZgzSadxr+3UngdfAmgOYeeOrXYH8/+Mxj0f0BCsx68a90yoWDDA/Itq3LO1mY+2XQdeAkxu2R7OQgkLPqZVf+BlbjmYBEwCJgGTgEngQEgAUBXtZ+aKABdoYDIOA9jhW49GvmpsAl5jMofzpJgXoGyBtjnmAAH+2e1NWgdaW3F/yYFyMldmJwFjYBSOAHwAsjBtibmJefPmOU1V5AD4hSwA8l944YWEVidnWqG5iYarv6Nyf5WzuqeTOXDfUPJyPxUpWRa/v/XcGuY/ifdpfLdPl8rt84TppeLTOJ9fw1I9wzwqyk/aPk+YXlTePn3IH0UfhoV5hOmF9FF5ZMLjp1NGX5A/RnJyrjHgPklHwP+LfomzOTD1gskc8BhAaUzCMk8jnoVH+nDmcZjRBqsB3Aa8R9scM8WA2dUNvGexlH66a9euTlGZPvyII46QevXqOdO39NfsNtA+nH4cU7sK8rNYzSLG22+/7cD/76MPN+A+SWPONLgmAvfUHe0HGjR/Vv64/GHtNhlUtA3wMcAOGgd3KIiqh9SySonmzWWXXebsZGJbnQMz0dSh7VXlATydN+AjtvbDm8NJ+d9ghoUPAh054DB28NE6om7Y8kfbm3S0ntDxgUTzhhVwNdNCeoRXxYsysgp9sPsIDo7xbdwD1qPRxW4PPsTsCGBQwgQRO/R8jGln2UwUeZe8Jz7o2meyEMDWaGzXs/rONnI+8rxbtNPQWNB89X3S12IPnu3lDIrgD9sU6WDTnvIib9oWWm0MlHhif4/yaDnwowHB7ilu6GhvaA4wsGIgQhn9doWbdCkf7Zf0mEz6F2VkUZcyo1lAPtjzp1x6UVfaN1plaCmoJh18yJ5yUDbi7DIJmARMAiYBk4BJoHpKgPHrkiVLnC13TCj8/Oc/d+ZiUPpifswYl7EC4yS++YwDevTo4c4AYg7A3ADzMiiHMQ6CXscMVVUi1JlyMvbBxA1KRyggcWNilrqzSBECPoytsAkNsM9uAxYvmjdv7hYtmBfYta8EkDU340raBXMpxpuMVxmjlh1Oe73k5X4mUrLCbpNBog0U5I+TnJxrDbjf96+VCOF/RV/10ksvJQ7LZs5M3wbOwXxQ+3AwIObPvXv3dmfhsVjLXJsFSMB7cA7oq3ofTuWZCzNn51xAdhnw7eJ7hNY9dY/qw+lzWKhGWZBFWhYtGjVq5LCr76sPN+A+0XQr56ipwH3lpGFcJoHyEgAIrFOnjgNQFbBnRRebjhxO9eijjwqH0gIIVqcLLZtnn33WbYlFwwiAmC1mbJFl9ZWPHVtlOZAUwBZgm8E9B5cA9mKKilVdVrTVZAiDURYuWMzo1q2b+/gB2jMZYAHAruQSQK5sU9aDj/kA80HFhiiHxPKuGFCw3W9/XeSJphTAOBMLQHc0+U8//XSn1Y/tOwY/2DIlXyatbD/knQLg68XHntV9BgNoo7EAQTtihwCDIiZ3TGw59JU82KpIPhx8hpki/ksc8AwvadGOsB3L/671YwgxAAAgAElEQVRx48buhg7zQNj155vF4gB2/DiIlsUXJkVMqG+55Ra32MDBtdQPk1X+xSSJ/yz5QI+WHdpzAPV6MRjiUGbSJx/dOsh/BhuAtWrVSmjXKY89TQImAZOAScAkYBKofhJgDItyASYTGLdwqB87Gxn7YIKAMQBgjo6DGF8wdjrjjDMS9IxPbrvtNqcMwHiZcUlVvBjrMcZhR8FTTz3lACvMMFJnzMpysCELGQBh1Jd6A/Iz/kNhgXPjAHxYtOBsALRXqa9d0RKoGHA/QqR0pUjJKpFSvfGvjPldeNxNvNLx1Nvx+zQBv0vLTy+ej6bl0vXKAL27fbp4fLk8vXjlSZTRL49PF3enLTN0Xp4qm1Rlhr4cncfv+OL10jImK3Oijr6MtTx+Hrjj/gSPl6crS1SeKg+PX8tUulIK8r804D76r5UI5T9Gf0v/xBzwyCOPdKZn6Z8B6FHgog+nH/MXYOnfUcykL0PzHlPHzAc5t4S+ryr34XyzwFuw8MCCsyr7sSsf3Ia5sd+HU3/6cJTgdMcYdvAxDffBBx+4hUTk+H1cBtxnKWUD7rMUoLHXaAkocA/4DADJmQn33nuvA6bRVkEDBRCwOqzO+i+KDxIDckzFsPoMcHrfffc5QJYVWbRCmIQkA+75GDZr1sx9FNHI5iItVn4bNGjgNK5J34B7X+rJ3YDMAOVMnti+x4E5aNf379/fbWVmYoSJFgDq/XX5wD1p8z7ff//9xCo9i1EsuKBJxlZqBgHpgHv+C/CxuMN2arbvqTY9dQC4RyuCbXm0M7QfeJLum2++6bSPFLhHswseaBhwoFlAeyRNgHYAeNobZUSLn50e1IE42mQmwD12XW+//XZXHpUr/2sOLGZS6wP3AwcOdBoalLVv375OTspjT5OAScAkYBIwCZgEqp8EACwYhzDmAMjRs4TQSgTUYOyj4D1jEsY4gPeME1AyAChCaxNlFpQBBg8e7MbS+3O8tj+kSj0ZX7GT+O6773Zmfig3Jn9QVAAEQrGC+jHuYlxFvXkCBGFC6JhjjnFKPiiaUH+AsOo2/9kfssw0DWTOnV7j/gbJy/1cpGSNSOkakZLV8dvzlxLmxTk64leX3SE/NJqeo4M/noZLL56m0pCv44nn78IrmKdfhnRldvX0ypjI3yujlkHrmZQngzI73qDOKheVwT5l9tJ1cQG/ltmXa7oyJ/L00lZ+l14sj4L8CZKTc51p3Gfwh6PPYm6GshugNPfll1/udkgx92SXiy7A0seB7zCfhJ7FSObf9OXsKGK+B6ZR1fo2+hHqwbwaLAoFOL5XlB1Fu3bt2sn48ePdHBh50D/Th3NT37Zt2zosC+VA+nCUMPn2fZ/1NOA+g8acisSA+1TSsbhDXQJ0aD179nTbaLEJht1HgD00jgEpq9rAvKLviwEl2jcAno8//ng5dgDNZMA92tVoJefk5DhNcBgZ2F977bXuQBQATwPuy4kzpYcdDu+9954DiwHJWfBgYsiEkZV13tP+vhS4R7uAAQqHjY0cObLcB5wFHAB4AHK0FtIB91pG+Dp37uz+L2hvcbFYxCCJ3Rj8h/yL/NGOf+ihhxIa92hy6UV6LCo888wzTjb899A2QBOfMjHhRtOCrerE8b/NBLjHvBV8LFrpwIVFKbTO0MZQ4J6BEgPCu+66yy1KsGMAUzp2mQRMAiYBk4BJwCRQvSXAGINFf8Yo7DpEWYedg5iCQSkAAASNTUBswHvmAIxBMHPI4axoOgKAY0IGMB/lBHb1kW5VuBhHAl4NGDDAjfc5jBfwhl2R7G5kfsOuTpQuUJTwAR/GoihcABJhioFdh+wCZReijpuqQh2rYhkyB+5vlLzckSKl60RK14qUcOOO3/gT7nWxeOg0zLk9v+MP/AnaJPx+HtD6fsri/JomT72zKHNkHn6dNb94HmGdff5Mygy9z+O7E/wVyDMhlwNT5oL8iZKT09CA+wz+3MwxMQ9DH47JL4B7AHlMwYDd0G/rQiRu5p304fSJzH85r4SFTPrwSy65xCms0fex2FkVLr4l9OEsDGOjH+sIWEqgvGjOYx6H+Txzbu3D+WaB8YD1Es8ufnYXAPKjnEb9SfdAYAzJZGbAfTLJZBhuwH2GgjKyQ1ICaCLTUWJbmwEtnT0D4JpyVRa4xy45Cxpo1+PmwwAYizkUPoCAmgbcZ95KGEywJXv+/PmuvTE5PNDb9BS4512x6MJKPMB3eKFVxWICNJizQSsLkJ3BDjdANxM5AHS9GAiEwD3/m3vuucfZiWdBwr+gJ00WflTjHrM0lI1yYiKHhQ2AdOTEBQ/leuyxxxzgz6CESSRtGuCeBQJAeS0nT3YPtGzZMmEqB1u12DVkAKO7ZwDzAe6xZ6/APZoKAPekwcIABx9RLgB9u0wCJgGTgEnAJGASqN4SYLzPWL9jx44O4ODgPkw/otkICI/5BDW3gDYjWpsoXTAuQoMdUzOYncScJpr7KMNgno8xC2Pk71vRh7EQdWIHImOpDh06OLOG7OoE8Pntb3/rdggAdGH2krkOgI+ayGFcypgUs0AAQ9QNeTBmwsRiVQG0qnKr4x1wp9e4B7gfLVK6Pvld4sXh9v1RfGF8yQaRUu54OmG8hjuaDbH0fRrfnaD1ykRYSOPnSVwYn0gnXrYwPvQn6IN8NTzMI+RPxKss4vVUfp4hjx8X5Q7pQ386HmQUyinOU5A/yYD7CvzBmWeyC5tzOgCpWYD9/e9/77AJ+jjm1n4fzlyRPg4wnPmp8qgpMHa+M9fDMsHBUNak32CuyyIDO6VQmGQnmPbhHMTL+XfM0zlHjm8N82vtw5mjAuQzf2aBlm8aC9J800jvYMxhDbivQIOOIjXgPkoqFmYSODQkwICyMhr3gPUAmwCe2PjPzc11h5kySWE7rQH3Vb/9+MA9q+6YnmH7XXhhwoZBkGomMEFlMIOZGW6AfA72YfKqVzLgnsEC7QaQ3L+gR0ONAYkC9+TBNnW28rH9nHIweKLNcvFEKwwgHk14BmB64SY9BjRaTp5oz2E3nwEYE3GAe8B/yo6NW8IYwDFR9YF7tO8B8zFdRNsGuGdhgYGgXSYBk4BJwCRgEjAJVH8JAPygec/4AyAerU200wFGAOlV854nILcCP+ySRPmBM37QgMRWPhqcjEEYP2G+AFAFoASlDB3H7G+JkS4KDIyjAHAYmzOewa4xWpYAWVqnpk2bOsULgC6AIQXtAbdQvAHIRzGDcdlhhx3mtFfZbThmzBgHfh2oOuxvmRzM9JARd3rgvpHk5Y4RKd0oUropfuPWe5NIibrjNCXQaRjxgZ+4kCclfcifQZ5+eq7cWp5MyxjmmU2Z43mHdY6Siys3efv5V6bMSfL05bJP/hnINc5TkD9ZcnKuN437CvyJ6cPRvMdiAGeo0d9xzhq7x9klhAIm/Rt9uC7A0ud/8cUXbp6H2Vp2IgHes5MKUzosemofzoLmgezDqarfh2MmlsVVzh3UhQUWUSlbkyZN3O5w6sUuML8Ppx8njLks5pAx98zZeVhYoK6A+wejDzfgvgKNOYrUgPsoqViYSeDQkACddmWBe7aesY0MTWS0ntF45kPI5MWA+6rXfhhoAFir5hc2/NCK57AaJniYPfrss8/KafozAMI8DduomcRlayoHczfs1ECDXQcMPMkfjXsAeAXu1VQOoD4TXuwOApz7Wl5MhjBzA6iu6SF5JtMsTJCmf4WH0wLcQ8dOA8B4wH4OOGKApsA9bfqBBx5wNmCxl8h92WWXuTMJGMxRBrtMAiYBk4BJwCRgEqj+EgA0YW7M2ALtxJ/97GfOTAxai3qmjgI/ACVo3rMjl3EE2vqYWUAjEsAIgIVDDznUld18aEUCpgDgM77SXYLZSo1xCGM8xneUiUUGlBAweYliBXXgZlGBBQkUMBgPUW7GSz7gw5iH8R5jI8wRYrufXQQoUGA2CEDIH29lW/aazI+cuNMD940lL/dLkdLNIqXfxW/cUf6osCge5c+UnjSUJ0wvTCOMD/0hfaZ+zT9Ter/M6XjCMob+dPzJ4gnXO0wznT9ZmvBtloL8qZKTc4MB9xXsJHTeiBUAdhbRD9MPsohJ36ga6Qreo0zGPBPlNRZpL730UkGbnZ1JmBTjO0D/Rx/OYigLnQD4B6IPZ47LggLlZB5MX42ZMr4nmCpjERUzOdSNeBYd+AZF9eEsKPPt+dWvfuX6cMy4jRs3zmE1B6sPN+C+go05JDfgPpSI+U0Ch44E6LgrC9wzKeCjx3ZgPnKApwDDgPgG3Fe9NoQGAhMxtNh5b4DxaI2zNZz3BnANkM8ggIsJJRrlaOIzWGFQkA1wT1tD0wFNNvLVLXqqbf/000870DwE7uEjjAUE7KyyRVuv/QHco2mPmaezzjrLAfJoIrAgBXCPzX/i0JjDli0y4GahgQlx69at3SRWy2NPk4BJwCRgEjAJmASqtwQwMYNmOTv60J7n8D+0HbHtDvjOGErBe9XaBOzG7AI7+Div54ILLnBajgDmChwBhGP6D8CF8RUgPuObbEAUxmqUh0UFzPuhgIDJSjTsKTv5A/acfPLJzjYyCxAcQosJBQArxjR+fRgTMhbE3A9AP7wXXnihcLYVtKaskHnb5r1ypwfum0he7ngR2SpSuqXsdn4N46nuOE1KemhCnq0ReSTLL1P+iDzKlZM8wzxCv1+viPRS1jNT+ormGdKH/lRl3hIhZ7+cvpt0o97LVinIz5WcnBsNuM/8L+co+c8BqrOYyi4hbN1ziCu7p5hLAr4D3vtmc+gL6cPZec1cGdOq9IEsvAKYc8OPSVfmqygv5uXlORCfOXQ2fTiLriyI0veCn9D/3nbbbU5hDM1/yq59ODulWIBAyUxBe75BuhhBOnwL2CmOkhmLrpjIoQ9H+Y3v1sHsww24r2BjDskNuA8lYn6TwKEjAT40lQXu+bCx4szBpQCYQ4cOdRMQA+6rZvvhXaFdzyo92+bYdsdHXDXw0YIHmGdSCYiP9jsTPMBrDqZlwpYNcI9UmGAyYGLbHws+HOpG20HDgUEIA4oQuIePQQbaB2jAAd4zqdbwbDXuAeqZwDLRRrMBjQsGbgD3aCugbc9OAcz0+BcLV5QFrTW7TAImAZOAScAkYBKoGRJgbMwCPaYgGSsBmmBmBvAbk38s+BMPSALoDXCCH+11zBZgP5hxA+MKFFsAfwBg0F7HTvw555zjzPahyAAIg/lJFgQYezAeIR2AGAAhlBsY8zA+AlxCSx5gBhMKaE+y65UFBZQJ2BF40kknOZMIAPYAViglUAfG6pQbs4ekQVqUW0F7tDY5oLZdu3Zy5plnujofeeSRLk3GbNADMNmVuQRoR9zpgfscycudICLbREq3ich2kVJu3x93E+7ioSNMaQn3aPbhj6fn85BOIi8vPz8PVwbNI0WeiXSCMpNfIk7LqOmp36+Hz5+szD5N3H3Ay5wkz33krHQ84/V0ctbweJ1Urk420XItyP/GgPvM/27lKPnf0T8zx2NOi5kYwHcWNJnfglmwcKoLsCiW0YcTRv9KX6jnoNGvooHv9+F///vfnTY7AD9AOzvWWYzVPpx06MOZY9NvMrclL/JAu59FXubdfCuYb2LOlUUGtOL5zlBeNP4B3jHBxoG0KNzxTaIPZ15On619OIsQuFmUZXGCbwzfLRZfAfBZ0OW8E+bhB/My4D5L6Rtwn6UAjd0kUM0lwKQAEBLtIv8CkGTll06eyQMDdyYkfAgBMfk4saLNZIMPBVvH+DiRDhMPJhqsHgME8zGx6+BKQCeiaINh6w/QnvejF/H40QTD7jsfeU6o590Rx+AD8BwaBgh60X6YODLQ0YtJCpoItBEmhf7F4AWNdjT/Ma/EIbLQ0q64aEN9+vRxbc3nI5yBFoMw8uSiXEx4mbz6F4sU5E26/kUZ0UiDn4UIJr5oLFAfNPkZQOm2cQ7jZWBFORlcUW7/or2zCGF27n2pmNskYBIwCZgETALVXwKMfQGrGTMAqKBtiQY7ZgrQxGfczFiXMQ7jF0AaxhWAKQAzzK8xLQMwz8GHgCeYawBIQQMfUBwQH5vKDRs2dEoVAP0ov6DRiWIAZ/sACjEm42BCAHpsN3NALIoGmDjENA/mbzDPg21m0udARgXsMd/DuI7dg4A9AEqARwBVCtpTD5RxWJRgZwEAF8AR2qWM/dmxeTC1NKtra2KMyp0WuG/RVPLyJoqU7ojfOz03YVF+DeMZu0tKtkn37u/Ik0/8093t2z8u77zzhixcMEf27MYsyw7Zs/s7KcifJgM//EBmz8r18tspQ4cOlGnTJklJMSBzLP3JX4+TWTOnytYta70y7ZQtW9ZK/pxv5PPPP5EZ07+WTp1eSeSr+ffp3U0WzJ8l8+bNlB493kuUQctbVLRVVq9eLJMmMm+cm8iTco4cOUymT/9atm5dK6tXLZYJ40fJd5tWuTIUFW2RlSsWyssvPy/z582U4iI02He4+Nde7SBzZufKrp3Yr98pJSXbZfu2ddKtW2d56qm20q7dY/J0+8flxReelnHjPpf165fJooVzXPmJ17LzhPaNN16Wt99+VTq8+Ey5OOJff+0l+XLc51Jasl1279okvXp1kYkTRzt/7F3qu/Hfa0yusfjw3Sp9jKagYJrk5DQyjftKdgD87+jr6MM5f4/+Fu1z+nLOPGPuyiJmVB8OyM2cF0yDPhAlMQB87OYDptOH8+QsE/pw+kq+E34fjjlVdmxjtpU+nDkvmAh9OIA/3wVszvNtYMGVPhywnX78mGOOcX04gD271OmfwVt0Ydfvwyk/uwWYIz/44IMO6Af051vQoEED9w1i/ss8+mBfBtxn+QYMuM9SgMZuEjAJmARMAiYBk4BJwCRgEjAJmARMAjVGAgA/KAIAerM78LTTTnNgCDaPAdtRMkARAYAf8IQbZQf8AOQA+CgRoBSAkgJgDXxoUHK4IBr4AEkANQDlpItmJ6AN4DtAEzfgEH7CiUeDH3qAI7RAAWh+97vfyemnn+6AGkAmtDPRsEfxALCH8rCowOKCgva4UV6gHiwCkIYuKmDWB2ALQMhA+8o16YoB95NESlEQ2S1Syr0r7ufJLtO434Xjj9MQLrultHSXFBVtk3p1r5BTTjlZ6ta9Qq66qoHceeft8s47naQgf7qUFO+QTRtXySuvdJCrr75Kevfu7ng0z9tubSndur0je/cC3MfyHNC/j3Tt0lkmT8aUT1me06dPkfe7vydvvvmq9OrVTerXryvnn3+e1L3yithd9wp56snHJC93kgwb+pFcdNEFsnXr+rI6yW7ZvWuLzJgxVV566XkZO/YLL26XtG79gHTv/q6sWrlYpk2bLM89114WLy6UPXu2yqJFBS7PRo2ul6lTv5K9e7fK3j1bpaBghlxwwfnyxusvy8IF+a4OxUXbZc2ab+Xyyy+TWrVOkauuqu/q3qjRDa5848ePkq++Git33nmbq8OZZ/xNTj75JPn738+SqxrUl9tuu0XuuusOadKkkVx4QW058cS/ymmn1ZJLLrlYbrmlpfTr18vlXVg4S5o2bSwvv/yirF2zLF4X7z3579a9M95b6ndLfXJyGhtwX7m/n+PiP4hyFopamH6l76XfpA/l4G2Us1DUom8M+3AUuejDUVpEkQ3zM+ySom8844wzXL9MH04fDODOAbBhH07fzUIB/XiyPpwFYQXra9WqJfXq1XMLs6+++qrrwym79uF8W6L6cM6tw4wO+QHaszAMaE/fzoJtVQDteSEG3GfRmGE14D5LARq7ScAkYBIwCZgETAImAZOAScAkYBIwCdQoCQD8oH0PwI3G5LnnnuvM5nBoIXbs0YzHDCEamgA/aN6r2QXAIABzwG92qgIQsUOVnY+cCwUABJAE2AIgzyGCAEFqmgfNd+wbY/aGwwkBeACdAIjQzgT8R1Ozfv360qZNG+nZs6fbgYgpBTQs0SZldyDlQEOTRQXKxw0oBR1g1MUXX+zAf/IDeGrUqJEzFQiPgfaVb86ZA/fNJC+P85v2ipTuERFudpZ6fhceDyPe95fukdLSPVJUtEPuvutO6de3t+MtLtolmzaulYYNr5U33nhVdu7YLMuWLZJ69epKgwb1pUePrrJ+PVrssTxvu7WVdOv6ruzduyNWhtK9snr1cunQ4Xl5+umnXB6UqbRkj6MjjPTIr0+fHlKQP1OklDJTzlgZKdewYUNiwP2WjeXqtXv3NpkxI09eeulFGTt2ZLy+Mf7WrR+U7t3ek1Url8q0abny3HNPy8IFc2Xp0gXy3ntvC8D7unWY/gAA3yvr162SkSOHu3q2aNFMPvpogJSW7pbiop2yZs0KufXWVtKrV/d42fZKSfFuefLJx+SN11+VhQsKE2UeNWqE9OndQyZMGBuTiyfnRYsKpVu3d2XIkIGybt3K+HvaI5s3r3eLI++++5a8+eZrMvSTj+J12fc9xeQSl5Enp8T79t5tQcEsyclpYsB95f+CjpP/ITut6YtZ0KTfpi/F/Bkmb9BoB5gHpKdvpB+nDwcg10VY7cNZqKUPx8Z9+/bt5YYbbnCmxQDmOQg37MNZCOWMlKg+nMUDwHxM49StW9ct7GKeB2sHLLgm68P1O6N9OIsPderUcd8O8qEPv+qqq5xZHcp/sM3j+K/PgHtfGpVwG3BfCaEZi0nAJGASMAmYBEwCJgGTgEnAJGASMAnUeAkA/KC5iOY8B/0ByHADujdp0sQdYI9pBcBu1dxUAN8Hf0gDk4PMvzG1xzlC2MPHFA5n/2A+ATMOaEvWrl3bgULnnXees33cuHFjZ68ZrU9MHmLCAdvKHMKo5v3QzARkigLsMekDeA8ghKkfNPMxs4OGJgsRf/nLX5zJHswAUoeqBPhUxwaWOXDfXPLypmAsktOg4jduvQlTdxRNsZSWFklR0S65++5/SL++fRL0JSV75IEH7pMuXd6VdetWyfz5c+Wmm1rI4MGDpH//D2To0CGJPNEu79btPdm7FzA8lmdx8W5p1+5Jue22W2Xv3p0u3V27tkunTm84MH/z5o3Sv39f6dOnlxQUzE7kq/ylpXtl2LCP4xr3mM7UehTL7t07ZMaMb+LA/Wgvrkhat35IunfvIqtWLksA97m5k6V9+6fkH/+4w4HxxcUsOMTSQ36PPNJaFi4sdPE9enQXykn5y4D7Hgl6+F588Tl56603pLAwPx5eLKNGfR4H7jHBWf5dLFq0QLp16yJDhgxystS8Wdy49tprZPz4cW6B4f777xHkHvLH6KPepcqk/LtFngbc759/Pv9FtM4B7wHHAcrp9wC62cnEYiX9Kf0y/bXfh4cAPn04C7H09+zGwoQri6Ys7GIGB5NjLVq0cBr9fCtYnGXB94orrnD5cB4Ju6+wa9+lSxdn4obz1cI+nLKGi66Ui+8K+WMCDdM47ASj/2bhFe1+TPbouXFVrQ834D7L9mzAfZYCNHaTgEnAJGASMAmYBEwCJgGTgEnAJGASqLES4OwmABNAGoAftN7R2sRsDYcBApj06tXLnX8DcO4ffKjgD0AMcWjoo+GpmviA+GjuY1YHm8zDhw93wAwAOwANhxICEHGmD6AM4Doa8ywCoFmvYD1amABPvoY9YA9+zPag7Q/wj11lND4BrtDiR+seIIlFAExLVDXApzo2qooB97kiUhLcgLx+WOgviystLZGioj3SokVzeeSRh+Wzzz6VoUM/lvff7+52dvTs2UMKCvKla9f3BLMay5Z9K2+91UmeeeZpKS5GQ77EmYUBmN67FxMvpB0DrkeO/ELeeustmTx5kstj9uxZ0q9fXxk+/FPZunWz9O/fT+rXrxczlVP3Cqlb90p3Dx36iWzYsE6GDftELrroQtm6dUu5+uzevVNmzJgmL73UQcaO5Zy1sjwxTdW9ezdZtWqFTJky2R3O2bx5M2f+p127p6SkxJdFseNnAW3Tpg0ycOAA6dWrp3zzTZ6r25o1q+TKK6+Qc889xwHhN9xwvdx0U3Np0+afMmrUF7JtW1m5Ro0a6RYhJkzANFCZfHEvWrRQunXrKkOGfCTr1q1x8chqwYJ5csstt8isWTPlgw/6uMNBv/12qZSUAMSXT6PM75c/iqbYvS9MWKGRzc4Y/tfbt293Z26xkAgQzY4Y2pldmUkAubG4iZY6ZsvQTgfAZxcT2veA6iykAqTrLioFy/0+HFCdftzXxNc+fPz48Yk+/JNPPnHa+X4fjkY9h9/S1/qa9eRHuqn6cMz28E3gLBRs7qPlz24szPWwk4CDaRW0r4q7pQy4z6ydJqUy4D6paCzCJGASMAmYBEwCJgGTgEnAJGASMAmYBEwCAngPUN6vXz934OH555/vgHsAfMzdAKYAOvbu3dvZVQ61N9F4B0QnHBAfkEZBIIAbgCBuQP3w1jie0AIcRQE9aGRi8gENe9xo2HNwIYfeYtcZzXrM8WBfH417NPzRNkXjc9euXQYE7qd2njlw30Ly8qKA+yhANzosBtzvdZq+aPMOH/6ZfPrpMBk0aKADImfOnCEA8BxmTDyHFl9zzTUCGL5ixTIHhMc07rvK3r1oi5fls3btGgGABDDfuXOHvPfeuzJgQH9ZvnyZA+MB7tHIv/POO+TJJ59I3ADuW7ZslmHDhiYB7ncJiwCUBTDTzxONe0BygHuASP5Xjz3WVh544H5p376dW7AqLo4B46tXr5J33unsNI8xXQUv9WIXC4sSa9asdhrxjRs3kg4dXnS2zk899VR55ZWXZcGC+eXyjQH3vSU1cD9Y1q1b6/iWLFksr7/+mjNVwo4ZFu/0/8TCRFmdANf1LpNtWRhxfniJ0+g24H4//Rm9ZADv6cMBwDlMFsAbAJ8+nMXYSy+91PXtLNDm5eW5fpq+VAF8+nBAfPpx+nD64APZh9OX04cPGzbMHW7LQbgnnHCC68MB7OnDWbR677333DeHc1mq6mKOAfdeQ6yM04D7ykjNeEwCJgGTgEnAJGASMAmYBDSz8nQAACAASURBVEwCJgGTgEkgnQSKdu6WHWs3ya6NW6SkCG3T6nuh6QqYMm3aNOncubM0a9bMgScAP4DhHPKKWYR27do5wBPtTYAXwHZAH24AdR8A8sF8wKBUN6A/NzwASGGa8C5evNhpc6K936lTJwfsANhj25kbEz/sGnjuuedkzJgxbhEAQMuu/SeBzIF7TOUocB/Tci8P4oba2SENpnKKnTb87bffJp06vSnLl3/rAPn169c60zdoxqMlz8GqrVrd7ID2Ro1udLbfP/igt+zZsyvQuPfzLJYxY0YJpprQNH/44dYyYEA/l59q3MdM5czxwOcYP+WKadxzOO3mcvFoqy9evFCefrq9jBjxWVzDHw3yErnlllby9tudBG35r7+eJNddd51Mm5Yn48aNlhdeeM6B5aSHiaARI4Y7E1ONG9/o6oA9ezT877jjdqeBTxq33nqL9OqFqZxiB7o//PDD8vLLHWX69GlOdjF5Yyrni7jG/ZeJHQf6LmKmctC4jwH35I1c2K3SrFlTJ8tWrVrK9dc3dLLavHmTl7aC8r5cCYvyx8LYIWHA/f77P/op0YcDxLNYCeCNaRt2NnBILBr4ugjLYgz27NGOR9udPpw+l/472z6c/tvvw/006cPZGcCuKnZZ0YfznTnxxBOddj2APfbx+c5gax+Tayzk7tnDolvVvQy4z/LdGHCfpQCN3SRgEjAJmARMAiYBk4BJwCRgEjAJHEISKC0pkaIdu2Tn+u9kx7pNDpgHnN+57jvZtWlrDKAvLZWSvUWyqXCpzOs3UhZ/OsnRlhYDWlXvC3MygC2AOq+//rqzfY/5GewNc2NC58wzz3RmNDgUccSIEc6GMqA6mvY+6K5unupWQF6fGufHK9gD0IMWKeZw0FBGWxRw8sorrxQOTmRRARvIRx55pLBLoG3btg6wBzhiF0FVNKtQvVuHOK1XwHtkS1thYYQdDZg74f2jQYvmLOZtymzc+/bOM3djSz7Kxr3aYZ81a7oDrjGZs2cPh88WyZYtmwTQ/vLL68iWLRsd8Pzmm687m/AbNqwV7q1bNznb9pTv0UcfdnbcX3j+2fhhskUuHlv5Xbq8I5MmTXA8yvvdd+tl165tzsZ97drny7ffLkrEb968wcVt27ZJ7r337rgN/tWyYQOLVitdmV555SUhDT2cdvHi+c5mPQsBl15ysXzzDWadNslTTz0hLVveFKuXO/C1SAYO7O92CIwfP1ZWrFgaP5z2fVfvmN37lXLttVdLx44dZPs2FhRiso7ZuO8pEyZg4768/Bctmu/ZuF8tO3dulQED+so555wt1MfRl+6VkSNHyJVXXi7Qq6zDtDLxm437A98D8N9kERYzN4DjLGb6fTgmdE4//XRnqokdHJwpApjOYeVo2ft9cdhPq99/ah/uh+kCAIux7LJigYA+nF1bjz76qNSrV8/Zrges51wVFhcwzUYc35Tq1IcbcJ9lmzbgPksBGrtJwCRgEjAJmARMAiYBk4BJwCRgEjiEJLBz/WYp7DtShtR9UD6sfWfiHnTJPTLqthdkU+G3Urxzt2yYs1hyX+zl4gddfI/MGzBKtq8G6Kr+F4Dszp07nYY8NuqfffZZueiii+Soo45yIAs25NFwB8RHW5JDZ7FPrFqcAO3z5893QBCHHmIGB0AIEAdAB1CJJ+AMYC8anwD0gP/YtwfkAUj6/PPPhcWBm266yR2GiMmHww8/3Nk/BuzBzSGGmIYA7EE7EwCZ8ldVswrVvXVkrnHfTPLyvhaR3SKlaMzqjR9783vi4XF3wh+nK90jpaW7pahoh9x9F4fT9o7zlPEDrD/xxGOyfv0qR0s+JSW7ZOjQj+SiC2vLgvkF0qJ5UweI33B9Q2nU6HppdOP18sLzz8jMGXmyccNqGTZ0iJxxxhny4YC+smH9alemrVs3SP9+feS6666RK66o43jgg//BB++T8eNHy7Bhg+X44/8i1ze8NhH/WNt/ytSpk2Tv3u3y0kvPO35s41933bXOFv0///mw5OZOkq1bN8q0aVPdoa+LF81z8li7drkMGthf/v73s2Tw4AHy3HPt5Ykn2sbrhYx2y/Lli6Vr13flhhsayqJFc+XWW1tKr17dE3IsLt4lnTq9Jm3aPCIffTQgIedRo0ZIn97vy4QJY2K03vtYtGieO7x3yJCBsm7dCsnPnyG9e78v7737tuzahZ382HuaPz9fWHRgZ8CSJQvK3qemxZP36vsT77zsXRcUzLLDab+HToA+kAU1+tfJkydLhw4d3C6KX/3qV64P/+lPf+q03AHxMUtTv359d04I54Wwm4pDapP14QD0UX04AL3fh2PrHq35N954Q1q1aiVnn322M9vj9+GcRYKJJw6/pQ/nO4BZnOrUhxtwn2WDNuA+SwEau0nAJGASMAmYBA4RCehE1J6lCW06k4XJwtqAtYGq3gYOxCcK7fo5XYdK3zNbSY+/NErcvU9uJsOub+sA+zVT82Xqsz3ko8vulZ5/bSK9TsyRYde1kYKew2XbCuxEV/+Ld4/pBQ515bBZ7IFjYgHtTYAeNDjRlkQLH9vyxxxzjNSqVcuZOcAe9l133eXsjmPyAK3Od955x2lbAu6jlT1kyBB3mCImHQDnMW/Tpk0bB+C0bNlSsHnMwYp//vOf3YIBhxWiYY/dZjS6sdl83333uYNpMQ3BQgDa36Zlf2DbnvYJ6TXum0pe3iSR0l0isiv2xO37U4XH40pLdsrs2d/IyhWLynjjcUuWFMrcuTOluGh7WVzpLlm75luZNGmsbNu6XqZPmyITvxojX3/9pUyO3/B8990aKdq7TdavWy5jRo+Q1auXSlHRNldWnitXLpYpU8bLV1+NkcmTy3hnzJjqeNas+VbGjhkhX389LpHunNksBqwSygyw7vgnjJZJk8bJ2LGfy7zCWbJ1yzopKtoumzevlQUL5siOHRtd2SnLOsoyZoSsWLHIxc2bN7tcvfbs3iLLly1w6W7fvlFmzpwqy5cvjNHE5brs2/kyt2CGS0PlTh1XLF/kyubCVO6yS3Zs3yjLvl0gq1ctFdLfsmWdrFi+0PGXFO9I5E85ly6ZJ4WFMx2Pe4/huyTdRNqA+N57j4cXFMyQnJzGdjjtgf2butT9PpwFVPrdJ5980i200oezEEofTt9KH86hsKeccorrwzFho3045tE4swETahxUPmjQIKelTx/et29f6dKlS6IPZ9cT/bL24YD1xx13nDsol/4bkz0sHmDijLMp7rnnHvddYKGWPhyzONWtDzfgPsvGbMB9lgI0dpOAScAkYBIwCdRACeikM3wyULTbZGBtwNqAtYHq0wbCfhx/tlcq4P7j+q1lXr9RMumxd2XwFQ840F7B/V4nNZXhTZ6U/B6fybaV67Epkm1Rqgw//wk0LAFXAGteffVVp+WOffDatWs7cB0tSrQ4AYGOOOIIZ08ZczYARGjFA+BceOGF7kBOwH/sGGNH+9xzz3Xa9CeddJJLhwUAtECxq/+Tn/wkYbseEL9hw4YOFOKwzgEDBkhubm4CsNe2UGWEVkMLonKmTaAVm9xUTo7k5U4UKQX8rcwNGF9Rvsrw+HlUlB96n8d3++mmcleGx0+vovzQV5THzw93RfnL6Avyp0lOTiMD7r/H/kH/s9i/nzNnjluExQwaZsc4b4B+GSCdfps+nMVYNOGxic+5ISyUsihLH8yht3Xq1HGmbjLpw3/0ox+5PvzYY4+Vs846yx0ejXY9OwD69+/vTLJhEo1FYi3n9yia/ZKVAfdZitGA+ywFaOwmAZOAScAkYBKogRLQgWEIzjEBjboZTNptMrA2YG3A2sDBawNRfTNh2o9rv84z2ysVcP9Rnfucpv3gy+8XgHoF7fX5wWk3ybj7XpP1sxbWSFMtyBvb8Zi8AQDiANgePXo4TXwAIOzMA8AD2APAox2PeR3sF6s9+h//+Mfywx/+UAB0MLmDBiZmdwCN0MQELALkAUgCKLr++uud3WM09jGdg/kFTOLs2LGjRso42/Z7oPn1v5YWuG8OcD9BpHSb3SaDRBsoyP9GcnJuNOD+QP9RI9LX/y59OHbpMYfDIbFo0aOJj5Y9C7Gp+nBMlNGH/+AHP8ioD//b3/7mDmFmkQCNfezpz5gxo1wfvj++2xHV/d6CDLjPUtQG3GcpQGM3CZgETAImAZNADZQAA0QmnJs3b3b2e7Gt69/Y4rXbZGBtwNqAtYGq1wb8vho3NtIBcOnTFZTIFgRIBdwPqfeQFPQeIV/c/Iz0O/tW6Xl84wR4j8mcQZfeK7kd+si25etqlMZ9OBRQWSN3tYWPXfvRo0e7A2Qxq4BZHTQrW7Ro4bQs0a7nQMQ//elPziQD4D62jQGKOKgQ4P/OO+90IP3zzz/vTOt88cUXghkcgHrf7rHmH5bL/AdeAir79MB9E8nL/VKkdItI6VYR2Rp348d2epTfD8Pt++GJ8zp+z51Iz6evbJ6abiX596mXpheUX+VSro6VzNOlFc/Hl1FCLl4ZXH7p5OTRu/QC+nJlTvYu/TTgj6VRkJ8rOTk3GHB/4P+qaXPQ/7L24ZwtApDPAbKYN3viiSdcH84ZI9dcc43bIQUQj+kb1cbHtA4LtvThTZo0SfThnIsCUK+LrXyvMbvGgrvmm7aA1YTAgPssX5QB91kK0NhNAiYBk4BJwCRQgySgA0UGjVu2bBG22nMYE4NQu00G1gasDVgbqD5tgMMk2XZ/++23O6ABDcIQvKfPr8yVCrgf1rCNrJs2T1aMnyHjH3pD+v6tZQK45yDb6W98KJsXrZTS4pLKZF0teZAzu1EwmcLBsNgp5kBEFr6WLFniDjhEsxMzO9OmTXOmETgscerUqfLNN984DXrm7fPmzXMHG3LAIQfZsihDetg8Jn3er10HXwI6lkoP3DeWvNxxIqXf2W0ySLSBgvwpBtwf/L9xuRLwn2ZuRF/LQjh9OOZrtA/nwHDtw6dPn+5MlCXrwxctWiRhH873uSb34Qbcl2tOFfcYcF9xmRmHScAkYBIwCZgEaqoEdLLJ4BFtew5QOv6E4+W/DvsP+d+jD5Nj/nKE3SYDawPWBqwNVIc2cNwR8utjD5cTTjxOODiPed/+Mp2zd9tOWZNXKDPfGeyA+OmvDxDuGZ0GSWG/kbJjzUbZvWmrrJgwQya2ecdp3gPaz3zrI9lYsFSKd++tqZ/RtPVSMFeBfIAgQJtdu3Y5zXxAIW4AeXWj7Uk8dNCzAMBNGny37apaEtCxlL7rpDbumzeSvNwxIqUbRUo4gFXvTfv6E3FK4z+h3xTwB/4o/jDPBE2YHnlFlGmfPIMyJdLzw9Ud5hHhh79cGUN/WEffn0WZwzwT9YgqYyXy9NNDrgl/rMwF+ZMlJ+d607ivWn/rRGkUxE/Wh9NfWx+eEJdzGHBfXh4V9hlwX2GRGYNJwCRgEjAJmARqrAR0sgm4A2iATceLL75Ijv7DEfK3Or+Rxo+cKk0fO02aPW63ycDagLUBawNVuQ00aVNLGtz5V/lzrf+VuvXrSNeuXZ2WIGCDAvja5/OsyFW8e49sWbpaVoyfLsvHflN2j5sma3ILZPeW7bJ78zbZOHepFPQcLqPv6CBfPvC6LB0xWTYvXC67v8MkRMXyrEj5qjqtL/ds3VW9rodi+fSdpgfub5S83NEipRzUvF6kJP5Ut+9XmlTPkD70h7zE+zS+W8sQ8oR+nydML6SNStPnj4oP0wjzCPlD+qg0fZ4wvYryR9GHYWEefv4hbel6KcifJDk5DQ24r+Kdh/7Ps3lW8Srut+IZcJ+lKA24z1KAxm4SMAmYBEwCJoEaIgEdeOpEE60+7PG2faytXHj5mXJ5i+PluU/qSefJN0iXaY2lq90mA2sD1gasDVTZNvBubiPp+MU1UrfVX+WUv/9Jbm55k0yZMsVpbkeB9xX5lGWicb9hzmKZP3CMTHm2h4y7/3X56tG35ZuOH8jcXsNlTd5cKSkqrkiWhxStfo952lX9JKDvT8dTyTXuAe5HipSujd0l60S4fX/CvbZ8XCl0eqfiD9PzeYL8yCvM3/cn8otK0yvDPmVW+njefpq4Q7/LJ55e0jw1PoMyp8vD5a9lJN14ObUe+MMyhv79UuZYGQryvzLgvvr97cuVWPsA68NjYjHgvlzzqLjHgPuKy8w4TAImAZOAScAkUNMkoANMJpk60QTY4aC7UaNGyW233yInn/V7ufWZ8+SNMY3l/ek3Sc+ZN0vPmS3jdyq3xvFUN3yhW/36DNNOFU6cxuszit+PS+XWOH0mS0vj9RlFp2E8lY6nuv1wdWtcOjpN26dTXj9O09Uw36+8yqdPpVW/0oXhflrqzpTHp9N0NQ3/qXE+vbpDOsI1zndH0fnp+jwa7vNoWpnQpeLXOE3Hz0PdGqd5JuPx6ZRG0/CfGufT+2lreDK6MDxMuyJpaV76DNNOFe7HhW7181R3VDn9/JROn35cyOv7NQ/l02cUvx+Xyq1xPNXt56lujdNnVJ6xsB4zW0qP6TfJk33qS+2rj5OzzztDOnToIGvXrs0avE9p4/76tgJov2DIlzKiWbuEffsef2nk3BxeO7vrUEFr3y6TQE2UgD+mYndLcuD+BsnL/VykZLVI6RqREu7VcT/PNSKlcb8Lxx+nIRy371d+F6fp+Gl49GGeCR6fXssQ5umlrWWsCL9fTr++pKHlKuf25YLbL4+WMc4bJSel17Qjyxzk4cvVub08/TIn3J7c/PeSaZ6uTLE8CvInSE7OdaZxXxM7h0O0TgbcZ/niDbjPUoDGbhIwCZgETAL7XQI64fGf+z0TS7CcBFTWPmiPxj02dTk4r1OnTnL+hWfLyeccLe37XCvvT71VPpj9D7tNBtYGrA1YG6jibaDLxFZya/sL5cwLj5MLLqgtX375pTOZozbSARb1G1Duw5DCY8B9CuFY1CEvAf0/6ZgqOXB/veTljhApXSVSslKklHtV3M9zpUhJ3O/C8cdpCMft+5XfxWk6fhoefZhngidOX84f5umlrWUsR5+mzIlyenVO8Gu9vDy0junKrLJzZapomeP0mofm6coVlFPzIS7h9uTsvxdNL1JOXp5emQvyv5ScnGsNuD/ke5KaIwAD7rN8lwbcZylAYzcJmARMAiaBSktAJzb741npQhijk4C+A51kom2vwP2mTZsc0PPgQw/IsX8+Whrfe4688klz6T/7fhlY8GCK+yEvznf7PGF46FfaMFz9+kxGFxUe8ihN+ExGF4arX5+aTuhPFp4JXSY0pF9RupA+9Ccrs4aHT5/fd/t0Ybj69am0oT9ZeCZ0yWg0TX0mowvD1a/PivIrffj00/PdPl0YHvqVNgxXvz6T0UWFhzxKEz6T0YXh6tenphP6k4VnQpcJDelXlC6kD/3Jyqzh4dPn990+XRiufn0qbeiPhfefdb90HNxcbrz7XDnlb3+Rhx56UKZNmyZbt251msChvftMPosG3GciJaM5VCUQjqlSA/efiZSssNtkkGgDBfnjDLg/VDuPGlpvA+6zfLEG3GcpQGM3CZgETAImgYwloBOZqCeAcSZ3FG8YlnGBjDAhAZVhFHCPuRy07gcMGOAOqj2j9l/kvhfrS4+J98nHhW29+zH5uJBbw1K5NS4Vj6bDU+nVrX59Kq36eapbeUIaDffplEbj1O+nF9Kr36cJ+TWdMNzn8d1RdJqGT+e7Qx6ljwqHL1240kTRadp+/r475PHj/HR9Op/GD9e89FkZfp8nzEfTDfP06Xx+ny5VuB/nu8P8/LhUbo3jqW6/LH66YbjP4/P6dD6NH65u5QvpiNdbaaJ4lEbj9Bny+HTqDmnUz1Pdml42PMobpuX7/fzCcD/Od4fp+nGp3BqnT01H/TzV7ZdF6cqeffMeksffvVEuanCKnHLqSdKlSxdZtGiR7N69Wypj796A+8Tn0xwmgX0kEI6pkgP3DSUv91ORkmXB/W0af0iP3+fBHfqjePwwnz5Mz6dTd7o8wvSUz3/6NOnS8/nU7fMTFvqVTp/p8kjHH+YRpqf5+M8wzXT+ZVKQP0Zycq4xjft9/lkWUF0lYMB9lm/OgPssBWjsJgGTgEnAJJCRBHQSo08AYsCCnTt3yubNm2X9+vWyevVqWb58uQOJFyxYIIWFhe5wVNwAx8RBs2HDBscDL2ko4K9p87SrYhJQ2UUB99u3bxe07mfNmiXt2rWTU087Weo3PVue732zfJz/lHy24Bn5bMHT8ae6fT9hUeFRNEqnPL4/pPf9uNWvT+X1/VHpKp0fp24/XZ8uWbjP59OH4erXp1/GMG2fJqTTOP/p0xCu/jBdDVca9etT0wz9UeGpaPw4dfNUt+av6fp+n8YPV7fG6zMMx+/fIZ0fp26fhjD181S3H65ujdNnsvSiwsO0fRo/Pd+tNDzDcPXrU2l9P27161PT8v3Kq3HqT0Xjx6mbp7rDtHy/T+OHa7769OnCtH2akE7j/KdPQ7j6w3Q1XGnUr09NM/RHhaei8ePUzVPdmr+m6/t9mrLwT+c/Ld3HPih3PFFP/u+Yw6XFzc1lxIgR8t133yW07iuieW/AfcW+sUZ9aEkgHFMlB+6vk7zcoSIlS0RKlno3fg3z3T6N7w5p0vl9XtyZ0EPj86XiCeN8PnWHNOn8yqfPTOihUXqeqXjCOKXPlF/pUuUZ5hH6Y3kW5I+SnJyrDbg/tLqNGl1bA+6zfL0G3GcpQGM3CZgETAImgX0koBMW/6ngug/Wr1y5UmbOnCljx46Vjz/+WHr37i1vv/22Ozzv8ccflwcffFDuv/9+wc2Bep07d3Y00I4ZM8bxAuYD/KcC8bUc+xTUAhISUBklA+6R8apVq+Trr7+WJjlN5IxzT5Zm910mvce3kS8WdXT3yEUdJdU9alFH4fZpQr8fhzuMD/3Z0of8YZ7kF+YZ+sM0wvjQny19yH8gyhyVhx9Gnfx6hX6fNpnb54+iCePT+aPS8MPCMoZ+nzaZOyxDSBfGh3mE8SF/lD/kCf0hTxgf+jOhT8eTSRo+Tbr0wvjQ76eFO4zHH4aFPKE/pE/nT8cfxof+sIyhP6SP8odlDGnC+DCPTwtekHc/fVDqNDxDTj7teHnyqSdlzpw5+xxUy3eAb0Kqa+f6zVLYd6QMqfugfFj7zsQ96JJ7ZNRtL8imwm9lyYjJMvaeVxJxSjeieXvHW7x7b6osLM4kUG0lEI6pkgP310pe7sciJYtFiheLlCyK357fhXtxod/xePTqJ03cxdy4Pb/SJPKMx0PreDz6KP8+/PB5PH5+Ib/mEVVnv4xhGvvkmWGZE/nFy5ioc5oya36unHG5hGX2yxjK2fGHeXoyCuXi/DH6gvyRkpNzlQH31bYHsIKHEjDgPpRIBf0G3FdQYEZuEjAJmARMAikloJMVfSpgjyYfNtPRmP/qq6/cYae33HKLXH755XL22WdLrVq15Pjjj5djjz1Wfv3rX8sRRxwh//Vf/yW/+MUvnJsw4qA59dRT5ayzzpI6derI7bffLm+99ZZMmjTJae2Th+apTy2LPlNW4BCORD7IjHfFAovauEfjfsuWLe4ww+Urlku3bt3koksukDNqnyCPvtxUvpj/moxZ8qaMW/qWjFvaScbG7/L+txLhY5fG3ND6NOqP8ZOWn57PQx7qL6NR/lgZ/Px8+lie5fmVNjpPLQ885fMgLU2vLA+t/755ZFJmLUtZeuXzUJkpXXSZY7KDJtsyUw7N03fH0o3VUfMok0W6MpfJyK9nrC77ljkWTp3K3kWsLL6/rM5+OZVOeTU/LbPmSdnLyl9WZ+XTZ/n0/Daq/DxjdShLOyYnP49YepUvc6wcmqfKoXx6mkcs37IyxOoeq2OszlpmpdH0fBqNC/PwZaA0Zfy+nKPLHKONkivl1zpUtsyaZ/l3EVXmsnpVtsxR7ad8/jE5E6Z5lPGUf5exd0aZymSpMorxx96N1kvTiz39uLJ320nGLnlTPp3TUV754F6p9ffj5Pza58rrr7+e0Lqn389U676UXXM7dsnO9d/JjnWbBA187p3rvpNdm7ZKSVGxFO3aI7u/25qIU5pdG7c4XkmzOHAIf46t6tVcAjre1DFVauB+iEjJQpGSBSLFC+Ju/AuT+H0a3J6/GJ44b6b8FcozyK+yZfbzjCyzVydXv8Dv86etZ1yuaeXiyS1dnhUuc7J36eXp6hSrZ0H+5wbcV/M+wIpfXgIG3JeXR4V9BtxXWGTGYBIwCZgETAIREtBJig/+Avxu3LhR+NYMGTJEOnbsKHfccYcD6wHqFaA//PDD5Ze//KXw5P6f//mfxH3YYYcl3BqvtDyPPvpoB/pfccUVcuutt8pLL70kQ4cOlYKCAqeJj/1eBSKYQGk5I6pwyAepbJATAI5ONHfs2OEOMcSkwtq1a2Xq1KnS+uHWUvvis6VBk/Ol16j2MmZ+Z5m4rJvdJgNrA9YGrA1U4TYwfkkX+Wzm63Lbw9fK2RecJs2aN5Nx48YJC7R8s+n7+Qbo9/KQ/zCaAEwClZCAP55iDKrjKf5nKLAMGzZMTjjhBGnR/BrJmzpYpGS+SPH82BO3708WrjQar89U4RrHM3T7ftIK09P4VOEap8+ofPy40K1+fabKM0zb51E+fRKn8f4zKtznCfPQuEzCNR+fR/PTOH0G6RXMGS45TRqYxn0l/nvGUjUlYMB9lu/FgPssBWjsJgGTgEngEJaATkz0qZP9Xbt2ybp162TatGnOtM19990nV155pRuA/uY3v3Eg/VFHHSXHHHOMnHnmmVK3bl1p0qSJtGzZUv7xj3/IQw89JI899pi0b99enn76aefGbA5x0DRu3Fjq168vp59+uvzud78T0gLE/9///V+XB3Gk8cEHHzi77NjPp0wG4KdurP571IkmCx+YIeKAWszlcL7At99+K4MGDZJWt9wsfz//VHng6WbyyZTXZdLSXjJ1xQcydWWa26fBHfpDfj+euHT+KH6fx3dHpRcV5vPg9v1h2d+7WgAAIABJREFUfun4o+LDNMI8wvxCf1SaPk2YnsuvT/l35dOnS0/L6/OEeYR+5fGfPn+YZxT/ij7lZR/ShOn5eanbp4niJw+ljXr6/MT7/jA9F38QyhyWwy9jWOaoOoY06dIL6TPxrwzknC6PsA5R5fZp0qWXSRn99JLl59P47qj0o8J8Hty+P1mefnhIH/rDPFd8IJOX95Huw9rLDTdfLhdder48+eST7qBa+nkAxvBbmfrLUT1iqdfw4cPlk08+KVdgvnuzZ892O8lYtMA/atQoGThwoNvFh1+vFStWyEcffSTPPvusPPXUU+6J6T7AWMYYHPiLLMP7008/dWbmSJPvKPLlIm0Ww19++WV3hs/ChQvdwjjfWD9fzBmRNgsrekHbvXt3N8YiDb34RmNaMEyDeM4LIi3M3vnXxIkTZfTo0e7dAypjljCsA2YM4eVAY8pC/X2aV155xZ1FRBv67LPPnJwYE+q1ePFimTFjhhtD+HXT+Jr2pI7cyEDHU7SRfYH7qyVv6iCR4kK7TQaJNlAw5zPJaVLfgPua1jEcwvUx4D7Ll2/AfZYCNHaTQA2XAINOgDsmKwp+1vAqW/UqIAGdmPBkYsKkhEkjdusBdtu2bSsXXXRRwuwN5m/++Mc/yjnnnCPXXXeds1/fqVMnZ99+/PjxkpeX5zTlly5d6oB/zLMwCWQRgDC06KH58ssv3eSbLf4sCpAW5nZ+//vfu7z++7//W/7v//5PLr74Yje5RNufiTllY+JLWf2yV6DKNZpUZaITTdW6pw9A617N5QASMH5A/hdfeqGcd8lp8la/x2Xc3J4ybdVHMn31RzJ9TfzGHeXX8FRP0qhIfFSeqfjDuJCf+MqUIUzX94fphXmG8T5vlDvkhyZdGmF86A/zCePxh2EhT+j36aP4/fiQF3+6+JAnzCP0h/RRfj/PKH4/Ph1/VHwYFuYR+kP6KH9FyxTmkY4/zDPkJz5dGmF86I/Kww8L80zH7/Nq+UKe0B/F44dVhj4dj5++llPD4A35Q7/S6jNN/MSFfeXpN++VOvXPl8suu1QGDx4snDtDf0/fz3eSbwHfhZpw8e1v06aN3HXXXW4xWuvEd61fv35OeYC6M0547rnnnJIAu/eQAxfA/4QJE6RVq1Zy7bXXOuUBnqTJmGTr1q3uXB4UEU455RT5z//8T7nsssuc0gJAOGB3o0aN3FhGAXjkCxjOeIXzYz7//HNn+o98NF/y7t+/v1NyYDyk4y3A8fPPP1/YbciYi7S4CgsL3TiINDTMRYi4hYsBAwbIN998o0EuPYD+f/7zn+47P336dLcrUpUqqA/33Xff7erPogZjK0wVopCh8TfddFNCUYKziQifPHlyoh4sDPTs2dOVLyxXojA1yBGOp5Jr3F8leVM/FCkuECnOj9+49SZM3VE0YbxPG+UO8wj9UTxhWLo8w/gwjzA+TD/0h/zEp0sjjA/9UXn4YWGe6fjDMoX8YXxqf8GcYZLTpJ4B9zWoTzjUq2LAfZYtwID7LAVo7CaBGi4BJheA9mjaMIFZtmxZDa+xVS8TCeiEhCcTMCaYTFrRAGMyyQSwdu3acuSRR8qPfvQjZ6eeiaxOctGERxt/06ZNDiDIJM8oGvJlks0klINtH3nkEbnmmmvkpJNOcuZ1fvzjH7sJ7CWXXOI0w0aMGOHaMyA0vH49otI/FMNUJvpemWzSD6jWPeZyWMTjUOAvvvhC7rvvXvntMb+RO1o3kUFjO8n0FUNlztrhdpsMrA1YG7A2UIXbwKzVn8rQie/JvW1ayCm1TnSA9pQpU5xGOP0+30i+A/pNqAnfQzTU2ckHuE29uHT8wMIFdWYM07dvX0eXk5PjFBKgBeBHux5lAbSmCePbOHLkSKeEoGA8aTLGYczD91JBakD5/QXcUxbK26BBA7nxxhsFjXnKxLU/gHt2Oo4dO9alF/4A3Ddr1syNvZBXeFEOtPFPPPFEueGGGxJ0BtzvdW1pX437BpI3dYBIyRyRYv8G+E3hD+lLouiDsH14vPRdnE+P2/fPEQnzCNML6Sm/T+O7XVyQfmLhIixXCn+5PL+HMu9Txqg8vfKGMnDvNKh3hFwK5nxiwH3YuZi/WkvAgPssX58B91kK0NhNAjVcAgwwmchxICgHiXKoqF2HrgR0As+TyaiCu0wi0ZhHw/7cc891pmt+9rOfyc9//nP505/+5GzP9+nTx2nLs0Ub4JxJrk5os5EoaZAWmmhs8WYS3qNHD5fnn//8Z1cGyoGJHrTEmLSjta/b1eH364X7UL58WSCbUOueBRoWXNC6nzdvnqC9d8mll8jfzjpF2nW8X8bP+VAKN4yTwg1j47fvJmycFG7UuLExt++Hb2METyK9OE85P/Q+j++OSI/8wjz34Q/TCMscxgf+cukly8/n8d1xer+M2ZbZySvMI8If5unL2dXJ5/Hdycoc0JSTC3FBvJ9/RmUOZOv4/TTDPPy4iDKTZ4Xbn9c2KlPmfXgiyuzLBbfvr1SZI/Jw5YjXJZRBVJ7l3l2YXlBGxx/KPvCXSy/gT8jI5/HdcXpfLtmWOZGn9373kUtEf+bL0dXJL6fvTlbmgCaUS+j365xRmctkO2PZcOn9yWvS5Kar5YQTjpc333zT9evsngu17vXbUJ2/jyw4A3hjmob6cbHrj3EBYwiuhg0bOq13TOJglo9dCKotDaDPLkLGxYyPkQmyAqD3xw4HGrjnnBm+vSwGsJjAggS7CrmqAnD/zjvvSIsWLeSJJ56QXr16ufGCAfepgPt+IsWzgntmmb+IuNCfgt6lBX0SHpdeyB/mEcWfJL1E2cP40B/m6cWTRhF+L8wvp+9O5FfBMpfji5fF5anuoHyReYZlDP1BGlF5JqujkwH8M6VgzhDJaVLXNO5dr2Y/NUECBtxn+RYNuM9SgMZuEqjhEmAiM2nSJHeIKDbIOcDMrkNTAjpp5wmgi6YVN4fPMsFl+/hxxx3ntOsByjl0q3nz5m63BpNcAHsmujpZPhBSpDwsCjA5Z9s527IpAwtPmM/h0FvclJUys4OECTn1CQH8A1G+6pKmvmt9z6p1D0BBn6C27gE0WAR5/vnn5fS/nSbXNa4r3T98WRZsmCiLN02O31/L4k3cvl/d+kxHE/L7ftKoCL+fp7o1DfVHpReVp9KH/KFf0/PT0DBNw48L+TOhiUovXZqZxPs0UXlo2fZHmTWNMM9keYTlUbqQP/QrnZ9fOhrlicozDPPT0jxS8aejCdNTej/cd2t8qjyh93l8d8jvp6PukCYqvXRpporX9HwaDdMy+HFheTKhiUovXZqZxPs0UXlo2fZHmTWNMM9keZQvz8INk2TSnE/k5c5PySmn/VUaN75RPv54iFucpd/ne12Tvo0s8qNRz0H2uosM4B777NSXBenbb7/d2bfHJjs7+d544w0H3iMHxhbYyMdM3L333us06NFOZ2fq9wncd+vWzdmxZ8fhmjVrnGINQD7X/gDuMT949dVXO/M4mMjhZsxEPdG4v/zyy50MOXeIOGTxwgsvuJ2XjBG6du3qzA1hroddkCw0cL6AmcqJsnFfX/Km9hUpnpHkBhhOFkd4uviQV4FmDQ/9Gp7qmS7PMD7MI4xPlRdxIb+GpeIL8wj9IW8YH5VnyJPKH8UflYefRll8wZzBBtxXl0mTlTMjCRhwn5GYkhMZcJ9cNhZjEjAJiAPpDLi3lqBArg/aM+lFwx1tKrZqc9Dsf/zHf7hFnnr16rlJHBM8DkgD8GXS+31dAPiUj0k4Wl5MKJmE/va3vxV2Ahx99NFOq+69995zk1zs2sLjAxTfV1mraj76rpEJsgHUUFv3qnWPyRzOHmBBr1mzpnLBRefKPa1byZipH8m3302T5VtmyPIt0+M37rh/M2FxP+7Q73iUfkb5eOJ8etJxfk1T81N/PN7nKUcf8keUMcwTfj+9feoYpqn0QZnK1VPLnalcAvqwjKF/nzLH6+mXIZ1cwvh0eeyTp5ZZ5aByCd91PH4f/iTv0pXLk5tfJ+fW/OJ1DulT+bXNJtJMU+Z98jtIZS4nu0zLXEE5JWQSIVfifLlG+cvxh3JSfq9MLj3P7/gDv59nORnEy1guT80j3nb2KaP+jzU+Io0wj7CMoX+fPIIyhOkl6qj1DOj36f+SlNmVI16PcnlMlwVrJsvISQPlljubynnnny1t2vzTAa18Q+n3w2+jD1BX1e9XqnKxqI9dehbuGd+iHc9YhQVpNOox74I5HLTyW7du7TTssfuOkgIKCID3jCuwWc8htWiVA/7zfVTZRGnckwda6CwIqFkdZIt9erVxj618QG++qcTp5du4RwGCQ2Hr16/vdkiwsHDGGWe4cQ7nAaUC7in3hx9+6N6vpk2ZGSM9/PDDCRv3N998s5MBZjL1xhwPCwXUAxM9HTt2dPUmHg17Fg50MYQ6IBPoWdh/6aWX3EKDAfcRwH2zepI3pY9I8bTK3UVJ+AhPFpdpXsn4KxpekfwOZNpR5UiVX7K4qHSiwpLxJwv30iiYPUhymlxpGvfaUdmz2kvAgPssX6EB91kK0NhNAjVcAqZxX8NfcAbVY1KnNyAuGniYxuGg2Pfff1+wH8+hs4D2aNyjzc5WdADd7xuwj6oOZWCCzmG5TEaZIAPeH3bYYc50zmuvvSZz5851i1ShdmFUeodKmP/O9b0DNih4TxsAyGBxhHfNIkjdelfKJXUukOdfeVwKV0yVlVvyZc22Qlmzba6s2c4dd+Mn3PfjjvKHYZqeSzMiPfLx8wv5Q3+Ynov30vXpk5U5kWe8Dj5PJukpvcpI/VrHKH+YZ1gPJ+MUctY0k+WZLj3ld/kkeXdaBmjdHbybdHl4/Ms3zZa5yybL1zNHyLcbZrr05q2YKuPzhsnYyR/L0vUzXJvKXzJRPh3bT/p90kWGjv5APhzWTT4f/6EsXJ3neFZtKZAps7+QqXNGJtrbnMVfyeivB8vXsz6XJeumO3f/oV2lz0fvxO/O0uejzjJpxghZtHaa5M0dIx9/0UtWb5vr6GfM/1LmLJlYvo7bCmXGgi9lxPgPY+2RumwvlBWb50jh8iky5uvBMm/lVJcXafcZ1Fl6fPiWy4d8R04cJEvWT0+U0bXpZO3Pk1NMzmH7Df3x96DpJdpS/D/qv1t9d34e4Xtz9Gny8PnLtQVtGyF/6A/LHI9P1n6j6pCop7bXNHnsU+Y0eYZyUf6EnL38NExpouRcTk7af3pp+HVMlp5PE5XHtkJZvXWuLFiVJwOGdpcr6l0qV1x5ubz66qtOu5o+n+9iCN5X5+8gygSMBxinYCKHw+v5jjFOaNq0qdMkv/POO4WbMcNZZ53lznNhzoxJwDFjxiR2DiIbNNGvuuoqN4bgu8kVBdxzUCsLAYDyfD+5WATHD/DOuT8cVAsvChGkzcU3F1ODnBsEaJ+bm+tsyLMLVsuJzXnOFsJ0TirgHlOCmNVh14CWlXf8zDPPOOAe4J1Fimxt3CtwTx1Y7LjnnnvcggiH4FI+xhQ1/fLHUPx/WARjPMo7ROll2LBhbmdqi2Z1JW9KL5HiPJGivNhT3erXJ+Eap0/iND4Tt/LpU3lDv6al8f5T45RHn1HhxGm8PjWt0B/yK12y8Ch+wvQO+X2/z5tJuNL4fOr281M6nqncfpzye+kVzB4oOU2uMOA+6ChmzZrl5hxhH8KCKP2nXuwGps9lodW/MGuGWTF2XrELiCeLp/TJ7Nhm8ZTz0D799FN3Q8MNDee48Z3wzy4hbRZMWQTmP046fGPYneRfhDFv9svNwib9PguqupgLD3Mr+mp/MZhw+hT66Pnz57udVn76ixYtcnUlHWg4g0zrqHUgjLKidEW+YTzftyVLlrjvPbLjW6DfKvJCPvTn9F+VuQy4r4zUPB4D7j1hmNMkYBLYRwIG3O8jkkMqQCce+mTywaSDQQ/aaMcee6z89Kc/lX/7t39zJmjYLs2Hno87PFXpYqDFYWuYzkHznnJj0ufUU091mmCA99TNByiqUvkPRln0vTPQRC5MwhkUMvmkb0CmDAAZxDGoBZQ448wz5Ir6l8nICR/Lsg0FsmHnUtlot8kgyzawYMUMGTZygDzx9CMyd0murNw0z/kffOQuuf/hu2TOoimyYmOh9BvcXepffYWcePIJ0uCaK+X0M2vJDY2vkeFjB8nabYtk1Xfz5ZkXH5fnOz4l67cvluUb5krPfu/KrXfeJB1ee1pmzJsoTW+6Uf5y/J/ld7//rfzhj79P3M+99KRMK5ggr3d+UU772ymydutCmVE4Ubr26iQfftKz3DvesHOJC6/boI5s2LEkEfftunz5/MvB0rxlYxkzaZjcdd9tLv3fHP1rd5A3T/K87R83yeyFkxN89h+yfuRAtgH+C8vWF0jbpx6Ws84+0x0kD3hBPx+ldX8wvkf7K0++Ycx/GQugeIAGOnUE9Dn//PPdt0zzAljBLA5KCpzxBC0gNCAMpuK40YYHOAcs0XFPFHAPIAJojoY+oAkACCA82uoA5aSJ1j8LCnfccYfzQwPY8+6770rLli3dt/fRRx916bDYoBcLABwIi9Y89L/85S9dOoBHlBFzOpQPN9r1lIG0uRcsWOC04l988UWXPmM4ziuirlpHnnznGduhcc+iATIEFFMa8iCesihwr+UjLczrcH6AAfcBcN8c4L6nSNFUkaLc+I1b71yRYnXHaYqh0zDifX88vBzPVC+NkL6yeXr5u3KHeWg8z0zy9PnDOmTCD026PP34qDz8+EzyDMvslyHkJ20/Ppk/9i4LZg+QnCaXG3CvnUj8yW6ozp07u2+TRjE/YefRgw8+6Ppg+nP6KPoczIppvww95rtY8GT+yhlsv/vd71x/C/AOKM9ZaJhUPeqoo5yC1x/+8AdHx/xGvwWYfyUPLtJmwZRvB4A7CwvsxsLMmn/Rh9M/+2A8fSnnqGBaln5UQX2+NRxkTp+qYaTFHIzvBAvOnG3iX5h7Y8EXYJ5+GSU1znajjtyc+XbSSSe5hQkWn1mU/vWvfy1//OMfEzTIizPi6Mdxs5ueHWoqPxYHBg4c6L4tft6Zug24z1RSSegMuE8iGAs2CZgEnAQMuD90GwIfav9W4JZJIdpZaNf/8Ic/lJ/85CdSq1YtN2mcMWOGG8zoR74qSY/BD5oDTEoff/xxN4DRRQcGcGzlpm6A0j54rzKoSnX5PstC/ZEdN4NGBquqda8mcxgoMuBlIAm4gL37tk89IrMKp8rG7Stk6561Se8te9YKt08T+v043Oni09FH5RnyVNSfrkzp4sP8ouijwkI+35+OPtt4Py/cpBemGfpDntCfjH7pqkIZMfpj+f/snQeUVEXa98/3pvPumzZHVzeo6xrWDIKCAUFFTIgCggMmUFCSoAIGJINIkJxFQJIKCAiComQHJSNDzjlP7OmZ7pn/d37Vt2aKS/cwOMjCcO851XWr6qn0VHVV3X899VT7zm9qy661+mTaOL3VvrX69O+hPQc363hon8Z/NEqdu7+tSZPHauuuddq5b4Oxh4zoryfq1tTajd9p75Gt6tajo3r06qKd+zdqxOhBatKisT6ZNl77j27Tus3L9dSzSRr14TB9u3KhNu/83pgtO7834cey9qn/kN4qW+5mHc3cq3WbluuDD4dpyowJJ/bh8AGNGjtUD1V/QGnhAwVh+45s1dwFM/XMc/W0dsN32nNoszbvWKsZsyfr4osv0ozPP9HmnWu126uTnz8/lM+J+BovfZuHG0b8003DjR/v/VTpnSrcn2Y8+nh+/niu+1T0JQ138+Kd9Pxp+t3+OH73qehPFW7KET6otOwDWvzd13qxyQu68647jKoUJAzZ0Gbsd+fFszkHnem8mNMAIABoAHoAYdiA/uKLL8zagBNk9gHkhwdJSUlGEp4L2QFIKlWqZNQDVqhQQR06dDAgtguwxAPuLegCwA7IA5CCFH3Xrl0N4GP5a9dYSPqzNrn77rtNnoDszL0PPPCAuTwXevtQJwB5QC0kRhGm4E6fP/zhD8YgoMD8TD0BqACQWLcB7FSrVs2ANaTP+oc1EnlzKtHGxwZcQvIfsKlixYq66KKLTggHFAKsgn9+4B4gCD6xPgiAex9wX/8BLVs6Sop8I0WSS2D88XHH8ytuHsWJHy99v19R+flpi5OnPz1/GqcK99PHy9Ofhuv2xyfM7+d3u/Hj0Z8cnrJ2YgDc2wHOsadPn24AasZt+7DByqYoJ6j5RmEM5dQYoDibkIzjPIzRfOs988wzBZLjbG6ieozNUsZUvmfYpEQVGHd4MOYDqiOoxOkoNnHPFHDPpgL3ibBxS9rkwVNS4J7yMzdxmox3a9gIYA5BiA3hO06esRFgw5kfmO+ZTx588EEzP7zyyiuGf3beDIB700T/nJ8AuP/n8D3INeDA+cKBALg/X1rqzJeTSRrDQofFDIshJncWRiwI+DD8j//4D/PRhy5TJK75ODuXH+rCooS5b+DAgUai4Kc//amRvi9fvryRfEMqzg9SWF6cy3X7scpm6277AbyxUvfw0l5Uy4IQSZP+/fvroYceVOUqlTTnq5k6dGyvsiNpnklXdgRzKncimkTxE9GTT6I4bphL4767NInKfCqaROnhnyjNRHHcvFwa992l8adf3DwTpVfc+G4ZEsVJlEf8Mu89uF1ffD1Lnbq0V88+3dWjZzeNnzhGm7elGD5m5RzX62++ppavNNfeA9tP6G9rU1Zo+MjB6j+oj7bs2KB33u2qFi2basy499X85SaaNWe69h7YYfrKpq3r9OxzT2n6zCnas5903HLG3gcPG6BbypVVRvZRbdyyTmPHj9L0zyY7tOkK5aZq7Lj3Vf3RhxXKtXVK0+Fj+zR/0Vw1aPC0Nm793sQh/LsV3+jPf/mTvl2xxOkXLh9tGm553HD849GcLr2bZlHpuem676eKHy9Nf5xE6eFfnPiJ0nPTdd/99K67uHkmSq+48YuTZ6I8iFuc+C6N/z2WBuP1uAlj9ESd2gZURqUKQAbzvwWWmRPO94e1CgA2J+2YwwAzqCfS50im24e6AmajdgEpRuKxRgBkQZUCkosA0dC4D2AQADp8c/nF3AkQRHzUF0CD2gPmV/swr1IO1CegygAaNhos/1FhQBn8DxsMnBoAfKFstJ01bEoAPpE/9QXYwg91LUigUl7mdsqBgAN52rjWRqoUkIf0AZYA0GwYNmoYCIdH2P4yUifWiXxXuDzx16O0uKkjxq6d6Av0E9qXtXShqpxqWrb0fSmy5AwYAOMzkc7ZTONMlrm4aRWXLhEf3PjueyJ6/BPRxfdPWTteSU9WDSTufQMC4xibp4Dd9mH8YdOQE0yA34QxXrGByh0cnBJnfOP/CGDNhdmMV4z7+DEGs2HpPkjNt27d2oyX0PBwz8eZAu4p54QJE0x52Ahg44BvKJ4zAdyzOczYHu9h/uGEAgC+3dTw03GPCXfDwWs2hRm3A4l7P5fOsjsA7s8yw4PsAg6cZxwIgPvzrMHOUHFZpGDsBwcTO0cA2Wnn4lkksTAcM2cRw6LH/+F6horyoyTDBxQLEKTCOA743//93wLA57I3jhoCQvuBCrtw+1EKdI4n6vYHFr/whgUvH+iu1D2ABMdBkQi8/faKmvPlbB09fliRvJxSasKltF4/dnudPt8OHtqnaTOm6v5qVdW0WRM9++zTGjiov8K5IUXywsrOyVTjxi+oSZMXjRs/2+/ogwsWfq1GjZ/Xho3r1LrNa3rgwWp6tfUruqvSnVqx8jsTH/pt2zerQYNn1bFTB70/aoQ+njypwBw4uFe5kWwNGz5E5cuXM3G2btus8RM+1MxZMwryM/lGw8b/0UerKxItLMvx1KNatGShGjZ8TsS1tCtXLdef//JnrVi57MR0St1/p5AXtn0C+8f+vxUnfdolrKxQuj6Z8rFqP1FLbGYjkWfnQwvsuiDzOT51BcU7CxxgDcD6EJu1oLvxcRayP2ezcNdNVvglMXA/QoosCkzAg4I+kLL2QyU9eV8A3Pv+4cxDCIshCc43CP8zTlEjvQ4YzqYYKl4Aw9F7z6XZAPlsmPGw8Yl6Mi7KRs0ZADY2G7Du82MD95yA4nuTzQY2IwDKAdT53i4pcM/pKU5ZcXk6UvcYNjfQYX/s2DGTDye/4Avf9ZaGzWyr8o17W1DLxuYxJxTYvGZjIZC4d3vJWX4PgPuzzPAgu4AD5xkHAuD+PGuwM1Rc+8HBxwaLCCTR2JlHZyA68TiCzfFtFj5IoQHknm8PdUMijMUZR8bRd88lu+gVRFoNqTTqBUiBsTw53+p5pspL/e1GDgtn+gULPMYIFsv0EXQhciy1YsUKatDwOQFGZmalK5oXCUzAgxL1gUOHD2jy5I913fXXqV+/99SseVO1fb2NVq9eZdIN54TUuHEjNWnykqLR3BPyOnL0kL766ks1avSCNm5ar+bNm+nBBx9Q7z49Vav243r//ZHatn2riYNN34UG8L5X754FZueuHcqNhDVs+FAD3IdzsrVt+xZNmDBOM2d9dkKe0bxcTZw4QY89/ph4t/8BgPuFi+arYcOGJm7MP1erVq8wd2/wn3HpbbzADsaQs9EHdu3aoW7du+nee+81l4kCcvChz3jPuG+lvpkPgifgABxA1z4S9thI6rN2Cp6Y7mt33cR6Mj5wf7+WLR0uRRYEJuBBQR9IWTtWSU/eGwD3cQYTTgsB3nOBK+MOqr/Gjx9vvklQ2XrfffcZwSxORCEtfvvttxtwHKAfekB6xiqk71944QU1atTIqNphnrNzWzzgnvkQsB2A2373Qs99MOTBBibYKnHRFe8+bBagJx+hJ+bSJk2aGDdxOX2DwBOCcHxTJwLumX8B+QHduQvFfbijBHVBfItBg2qzpk2bmlPynJTnNDSbGGxssEHAZeaoAkIlEOEY0uSbjjoB3KPGDSE3wuAjZSUNf95uOYp6D3TcF8WdYoQFwH0xmBSQBBy4gDkQAPcXVuMzWVsDSMurXKBPAAAgAElEQVTigo8wFiksbris5//+7/+MflMu6eHINAuJ8/WhjuhjZXHC5T2o/2FjAukCFn9IkMGDALiPfYTCB9svWLRaqXuO1iPhgcTLI488rAoVb9P4SWN14PBuhSOZCkezFI5i+43rz7t1W9vSW7e14/m7Ye47tNaNbd9d/3jvls7a/jyt29qJ6Iryd8OKei8qzM3f0lnbDeM9kb+ls3YiOvzdsKLebZi146VNmA23tp8u5r/v4C7NmTtLbd9ore27Nuv7lFXq27+PXnmtpdIyjyo7N0Ot27yiFi8308EjexWOZJj+hv/3Kas1avQIDRk+yMTt9k5no2qHeN+nrFTNWo9pzIcfmHQ2b1uv5xo8oxkzP9XeAzu9PmvLFrOHDBuocuVvUWY4VZu3rteHE0Zr+sxPT6rLx5Mn6smkOjqWdlih3HTzX9izf4dmzJyqJs1e1JbtG2PpRzK1bOVSI3G/bEVy8J8p6BPx+oJtC8KKei8qzE3X0lnbDfPnEc/tp/e7SddNu6h3G2Ztf1o2fxtubT9dUf5umPMeyVQoJ11TP/1Ejz1eQ3ffXcl8rANEAHZcaMA90pnM//bhHT3K8IM1EeAIfha8YZ3Aesi6icdcyeY28ySG9TRpQMcpBtLAzcY36y7omUvxx89uiBPPzr20hQ2DlrJQJtIBFCYfu9FCmrYchEFHOSm3H1xnHWdBZeJBSznI233In7zIw6ZvVb8gCAGuAE3wnA5wX1XLlg6VIvOk3PlSBDPPc2PPl3I9t/HH7dHgz7vrtvFNmI3npuHQ+/MsiOPRF+TrxCnI05bRKbM/vq2HqYOvzG45LV1BfF+93Tqeqsw2rXh52voYfrnlsfl5fjYPl6/+ODYfm6ZxO3xOVGZbRxPP4WtB/FgZUtaODoD7BAMJ4xfAO7rpAZFROYM6HEBvTv1WrVrVnKZGTzv3iKDeFbUxqOtCxdfkyZMLvl0Z+wDVkeBnbGOs5YkH3CNxjnQ+QDvjJQ9jPmmSB+Mm35SUAaDcpkUeuLmDhDmBsRUhsVtuucXokge05wQ7356o+EkE3JMedUcSHjVAbvqo9WEzgzoAzpdUVY4F7hnnma84nc5GB995AXBvmv7s/wTA/dnneZBjwIHziQMBcH8+tVbJysrkbA2LARYafAQi0fD666+bS8gAtm+88UZz/A59qnbRULKc/7mxqSMfnM2bNzcXwaE2h4t3kWhA9QsfofCCulr+/HNL/M/LnfrbvuEH7tEPibTz7XdU0AsvNdC6TSt0LGOfMnKOGJOZc0TFMZYeG3rrLk5cS3O6cfz0frdNN5Ft6bET0fj9bRzr73db/0S2n97vThTP+lt6bOt3KtvGsXR+t/VPZJ8uPenYOLv2b9bsr6arfac3tXVXio5nHdDkaRP13PPPaNrMj7X/yHZ9tWCWur7TUV26dzDhGeHD2nt4u3r366HK91TSzn0bdfD4LnXr0Uk9enUV4aTTo1dnox9/8vRJStmySk8/V0+fzvjI0Nv83ToNHPqeypYro9SsA1q/ZaVGjxuhqTM+KuCjjfPlvJlq+UozjRw9VDv3bVJa6KDmzp+ltm++pk+mjtPew9u8Pn5YycsX6M9//pOSl88vqLObZ1HvNj9sl2dFxfGH2TT8/oncfnq/O1E862/psa3fqWwbx9L53dY/ke2n97sTxbP+lh7b+p3KtnEsnd9t/RPZp0tPOm4c+46dKA/8U0MHtH3PejV7uYnuvOtOo2+XI/yAwxZ8Zsx358J/3kz04+bMPAfwgm5fHurcrVs3c9Ehl6si3cnFtvjxHU04gBBqBNExbx94B0AECIMZPHiwHnvsMaMS4YYbbjCAEhcTAuawMQLg0q5dOwPgICn58ssvm3fu4wHsJz2kHVu2bGlAJtQcvPnmm+bi3Fq1apmTgoBZCFmgJsKC7oBJ6HMGFGJNA/hCPPcB6AEwQn0g7fzUU08Z8AtAy324nBbACWlR1k481B/gqnLlygYAI63gOR3g/j4tSx4i5X4tRb7yzNee2/p5bpfGvNvwr06mjxBmDenaNL08iB83PZumDbfuOHm48QvysvTFLbNT50RpWL786GX26ujWy7zbOrk8wM8zJ9BYviXgs41jbIfG505ZO0pJT94TSNzHGUz4DmGsA+wG9AaUZzziXhD8ELxiHGLc5FsVNTFIl/M9y7j99NNPm3DSYeMRlTLPP/98geodsowH3ANgo0uf8Zb0Gft27dplJOXr1atnQHXSY0OBi3HtpixS/ozt6LFnXGYcxTDHUkaAfKTka9asaTbMqQ/jLPlRRvfBXb9+fVNmNlApA+kz/yCExvhN2c4UcE/ebFLAb9T5oIYoAO7dFjmL7wFwfxaZHWQVcOA85EAA3J+HjfYDi2xBaRYFLASQzGIhweKFI4A/+clPdOmll5rLevgotNIGPzC7cyYa9WbBx6VDLOwuv/xyo+/+tttu00cffWR4wEIIvmAsn86ZCpzFglB32z/gCXxjkcqikaOUVapU1iM1HtDoiUO1P3WLjoZ26Xj2Hs/s1vFs1yTyh4YwS1tcOktv47tp2DB/WtZt7UR0p/K3eVo6146Xthtu3/10p+vvxuf9VPEJd+ksvfWPF+bmcTp0Nm1/fOtv07July72vnXvWn325Sdq16mtNu5YYeq3cecKjRgzQDeXuVGzv54q3POTZ2nA0J5q0eol1Xu6rl57vaX6D+mpKTPH6UjmTh1I3aou77RT914dCuq/asMSvfbGy3q1bQtN+3yi6j9bV5Uq36m7q9ylqtXuLTBvd2yr5BVfqd/gd1Wm3E06nLFDazYmq3GTBipT9qYCOuJ8PG2stu1bq1lfT1HH7m8p6ak6eqJuTTVt0UhDRvbV5t2rTXza4FhotxZ994X+9OeLjX0s+M8UtE2sH9MHbN9wbbef/BB/N76bh+vvpsu7S+eGJYrj9/e7bRqn6+8vixvffffT2fys/x4zTvP/GjF6oG6/s4JqPFbDHLln/kc6m81rxnrGfNYGdh48i1PPWc2KeQ7QvkOHDgaIQcIS0B09wAAtXLCKqgHCATAAV7jk9tZbbz3hgkMkIwF5AJPQ/Y7KAQAZdAYDNnXs2NGcZmTTm/UWqgiYR6HHD/AJMB3AB2lNQBrUL3DakYttuWCWjQLWYwAqgO6ASKxbSJ80aC/yfPHFF426Q8B/hBKaNWt2Ak+5nBZwi7RpZ0AghDQAudhU4KGMbGighgK1iXYNSL3gERKrXGYIthA8pwvcD5Jy53rmSykX47gj9h37S6nAzbtnXPrcL5WfO9czvFuDn323NNbtp/e7/fSJ3G4e/jTcsOLET0SDvw37IXnY+G4afj/rjldm12+u8nNsu8Rpm3hteUL72bY9sS1T1ryvpCerBMB9gsGEcQYpc0B0xjq+RRijkbJnE5RxnIfxjA3LihUrmgu5v/32WzOeExepcr772MxEHSzjpX3iAfeMheTLOM3mZe3atY3NuEi6do7knTmEcZaxGZsNWNSJ8r0EKP/ll18W6N0nT+ZV5oR3331Xw4YNMxsQSLkzllMnNgYYn6knKoBQccNGAGMuKniYozgRQL0Zz/le5zuWuNZQFjaRmVeYE7jHplq1agXh5EHdyMNK3NuyMXdwlwCbygFwb3vJWbYD4P4sMzzILuDAecaBALg/zxqsBMV1QVk+0JCy4yIbFgaoyPnf//1fs9PORydSBKXtAaDg+CNSEr/4xS/M5btItqHTkEWMC1jAK7soLG18KKo+bh9hgQqYwwKZTY8nnqitu+6+Xa3btdDy9fN0KHNzYAIeJOgDmxL4J+4zOw+vNf1q+hfjtf3gKhP/QMZGrdgwX63avqglq2Zrz7F12nFotRYtn6X3BndVx3faaPConpq3dIb2Hk8xcfanbdDMrydq1ryPCspwMHOzpn4+VmM/HqLFK2Zp9KTBerNjK7Vs86JjGmvY6D5asX6evlw8Vb0GdNKB9I3asm+5ho99z6GLxZmzcLIOZm7S1gMrNe2LcerS80216/Kqho7uo+TVX4g8C/8jm7Ru+zfq2L2NsQv9XZrgPeDLj9MHdhxeoy8Xf6on69fSbRVuNfeUAAYDFDMvXogS9xa4R/VCUlKSAduZ69wHKXPAEkAQQHTUHiCViIQ7hpN8SKyjjxlVcjysI5CwRPod9Q48ADaAIgAigO4ueARQBFiDBCcXLaIDGYAeYIg8AIEA7y1wDz365tHZzB1EAPyA/YBBbMAwhwPcE27LiQ0eAPjuAveA96hFYDOAMqICAmCsVatWJwD3nAIgfTYcAKQAhgJ1OacD3N+rZUsHSrlfOGaOlJvIJKbLz52jApMzR/kY18++u/7+d7/bxrE24Ylo/GHx4vhp/Gm57njx8XNp/OnZOK7tpylOfDeO+16M/BO3XaI2Pdk/Zc0IJdWtHAD3ZpQ8+YfvUL7PGJPYPGUjkXGY8chuKtpYjK8A52yg8j0HkM+mKkA5YzjzHXOd+yCdz9hNWu73HmMbG7UA+2xsMh5zcSvfzfaBhnEZGjZ4oWEjlrTIB130jKf+h41hVNPyTQUN5WPsxzDGcqEtaVAH6k7ZOXnFWM8Gqt1kpb7ovLdxrU1ZKBcnxLh43vpbmzzgJ3kwP7Hp6z7MO4zz1P+HPIGO+x/CNSdOANw7zAheAw4EHDiJAwFwfxJLSqWHBWT5OOOjEVCWhRALHaTt0Wt/5ZVXmkWI/YgrbYyABxwvZCF000036d///d+NBB2LJ6QXrCQFPILWXciVNl7Eq0+8PsLikQUci9eyt5TRk888rgnThmrnsZXam75We9PXeHZx3/10uK1x07J+8egtnbUtrd9t/eOlYcPcOIneixvfpnk69D9mnjZta9vyue5E75a2qLrEC7PpWdum43efrr8bP9G7TTNeuYoT5qbrppHI303Tpff7+8Pc9BK9+9Nw6dyw4vpbOmvbNPxu64+dKMz1T/Re3Pinm58/XTd/f1hJ0j7T6RZVFpuXtS2t3326/rH4u1JXa+m6Oeo1oKOuvf4a1auXZMBj5nmAEdaAAPcAAgAT7gZ2vHmiNPgx11ngHoDjuuuuM5KSLqBOPQH1e/ToYQAVvqdRfwNIDvCCQT0N0vJcdl8UcM/agrSQZmQTwP8A5vfp08eAS6xHkA4FwEF6E2ED1iyo70FilAfQZcWKFQaUQaoSMJ56sHbhAbgHYLflxCY9pPpd4B4JeoB/Nihoe2jYmOASSCtxz+Y9JwW4lJ4NAIB+DPy40B+7TnTX1RZ0Y61J23GB5NP179Gy5P5S5HMpd7YU8Uwu7s9jbvztO+GWzvjH3Pm5nys/xzWzlJ8zS3k5nyvP2Lxbt+MX5t1xW5rwLOVhXHfBuxPH0HjxC+LES8/1c+KbNL1yJYpPGU05vfIUVeYT0rN52vieuzhl9udpeGTTK+QLPI4Zh/em7bx2sm1n26/A7bQzbW/b1bTt50pZMywA7i/0QeQs1Z/5HbCfTWUMc76dL85kEQLgvoTcDID7EjIwiB5woJRzIADuS3kDe9WzoCwfplbaHgmChg0b6o9//KN++9vfGp2nGzZsMAB2aeUKH6F8DHMEEl33nDLgGCUftixk4I0L3MO3C+Xx9xEWemzu8FFf6e5KKnPLDere93Ut2/S5th//VttTv4sZ3k9yf6ftx10DjaXH343vd3vpWXrySZSHCbPhbvr+NP3uM11m0vfMqfjiL7ONZ+yi+FREmU/I0+VDnPROyK+YfIlXZr+f6z6hPHHa+oT2T1BGN70SldnXNsXlM3QnlMGtx2mU2U0jIV+89E6oZzHy8Kdny2zyJP7plNnrCzYNUxZ/fL/b6fOW3sYvKIOPjwVl9rVLAX2cPAriFJNPJ9DHSS9RGQvK4CuzqZtT3pP4GiePE8pQBJ8s306gd9MjbhFteYoyp+xbqPHTB6t20iO67PLLDHCLKhg+3lH1cqED90hm/vWvfzUSkH4ggw39zp07G4lHpBivvvpqA4ojXYkBCG/QoIFRK1AUcM9cijQ90pCoT/A/H3/8sVGLAGgOcI+EJeA4mwSoe2CNwga6u7HAfM3dRKg+gNZ9AO5Rv2DLiY3aBTYZXOCezQI2H5CwB3BGKpP5/vPPPy8A7pHuR7UCmwlI/yPRip5myubnl1uGC+GdNnDXTWzQxAfuq2hZcl8pd9Zpm/ycmfKbaPYM5WZNV07mNIUzPlV2+qcKpU9VVtpUZaUG5ozwIG2q4Sm8DWdMM7yG5/A+P+ezk9rkh7RtypqhSqp7dyBxfyEMFv/kOnKaDEzY3sfCRjLfw2f6CYD7EnI0AO5LyMAgesCBUs6BALgv5Q2sk4/zMlnz0c4R77JlyxoAGwl0jh8iUVWaP8b4yOKSICTckJ7jMl50ANrL4Vypewvgl/4ecnIfgQ8cBeXoZ8dOHXXpZX/V883raspXw7Ru/1xtProgsTmyQJsxlsbvxt8Nt3Su7Q8vjtul4d3vdtP3v8ejd+NDH8/t+rnviejdfKF34/jdLq19L4o+XnyX3pbJ9XPfbR6u7Q/H7fr53W5c+14Ufbz4Lj1p+Gn84TYf13Zp4sV3w9149t0f7ndbOmufKg9/uI3n2m4e8ejdcOLFc7t+7rubj30n3KU5ldvGc+2i4kPnhlu36xcvTzd9/3s8ejc9m4cbr6hwf3qJ4rtpxIvj5ud/99P73YnydNM5Vf5uuE3vyAJtPDJf81Z9pLe6Ndctt96kZ559xqgGAIxlrkcCj3EesNGd+5gnS9tjAVbqxbuVuAdQv+uuuwygAR/cB7UGAwYMMBLoAOflypUzm/ycRMNwRwCgOGB8UcA9awnUJyAdD0jvfwDFAeitqhzUIqxdu9bkwXf8ww8/bOKxke4+Y8aMMeogoHUfgHvysuXEBnAnbxe4HzRokFERxAW69AdOF6A6wgXuuWARtT/oUEbNIBcXXnHFFeYUAv3nQn7oR7ZfsamSGLivrGXJ70m5n0k5M6RczGeeG9txG/8YTX4OIPEM5YenK88zkdA0pR2ZpD07PtDm9cO1ZsVAfbu4txbN66H5X72j+XMx3R3jut13aE5Fb2n86cVLx9IUFWbTKw6Nm56/nKcTvzh5xkvvHcPTb5f00dqVg7R143Dt3Tla6Uc/UiT0aaw9sqcrPwcTa6fTaVvaP2XNYCXVrRQA9z9wEOE/5/9e5f+If6IwP73N2n7vYSPA5TekR9r2cfNx/W049G4abnzycN02Dum45YiXrqUhzqnSIdw+vLOBzByHiZe/pS2JHQD3JeGeZHZXnnvuOf385z83KhBKo97iErIoiB5w4ILmQADcl/7mtxO9XUjwsYXEHR9gv/vd7/SXv/zFSKBv2bLlR9mBP9c4zKIFQBqp+4suusjo9+fDFEl8FjbwiUUOBt7FWzyda3UqaXn8fYQPUKTrODL/aI1HdEuF6zVgbHst2vCR1h2arZTDc5Ry2Nq8W+P387stXSLbT38qN+n4ady0iwqzdH4av9vSJbL99Kdyk46fxk27qDBL56fxuy1dIttP73fHi1cUTbwwv9+p3PHydP2KE784NDZNPy3+fr9TuW1aiezixC8OTaL0f2iZ/Xm66RcVZun8NH63pUtk++lP5SYdP42bdlFhls5P43dbukS2n97vjhevKJp4YX6/U7nj5Vnot2L3DPUf3V41nrhfd951h5HmBghmbHfV5LCZX9qBe6TZW7RoYQB0dA8DliMxz6kDdL+jxgbdvvABwAWQHFUy6DBmowPgvqjLaYsC7plfWVcgvc+GARct2nUFupfJm/IgUIEk+7hx44yOZuZ11ugA6XzLT5482axL7HyPjmLAeEB59wG4L87ltKjg4SQBupL79etn0mId6AL38AxAH53M6FzGIPTBBgD8upAf2tBdOxUN3PeWcqcXy+TnTFOBCU9TXniacrOm6tih8frum14aOayZXm9TS41fuF9P1LxD9917kypWuEblyv1d5W4JzJniQcUKV6vqfTerzhN36qXGD+iNNrU0bHATzf+qm/buGGXahLYpaCvTbtOlnOK1c8qagUqqe1cA3P/AQYQTQgic8TBOotMeHe6cWkI4i7GWU0acJOd7jrEOtZ/Mfbh5+OZD+pxTS+iQZzy2p6n4Ru7SpYuZA7j7jTthmCsR9CIdxmnyQY0ZG5xWBz02YzrlsarIGNe5dwS9+swlqCVj7LabxYwdbBRTXuYk9NNzQa2rl58yMzazsct3PCehnn/+eTMvmMp4P5wgR7UZJ7fswzhFXOY05iH49WM8AXBfQq4GEvclZGAQPeBAKedAANyX7gb2f1iwSOEDk8XONddcYzZ177vvPnNJDZJ3djFTmrlCHQEuWHAhbc9FtRUqVNCwYcPMooyPdgveW/5hl8bHrR98oe4sIOkLfKC3btNat91eVs+3rKVp3wzSst2faNWBTwMT8CDoA0EfCPrAOd4Hpi0ZrOdffkKVKt9uLqEHlEC3PcfmAQeQxHb12zMH2DmhtM13gCKvvvqqAS3Q2Q5Qgx9zHusBwHsAn6FDhxoQHZAcgAaghTmxJMC95SVz6rRp0wzIgyS/leYnL1QXAij5gXvahHV6y5Yt1bVrVyN0YdM7E8A9/YATA1WqVNG8efNMnwDgqV27trl8F6AHkMldA6FCCB5iLuTH/ldoI9aMiYH7u7UsuZeU+2mhyeF9aqGbsJypyseEYyYvPEXR7ClKOzJea5b31cihTdWi6cN6vMadeujBO/T4Y/fo8cfuU62a96t2rWqqXbuaateq6pl7VbvWPapdq4pq16qs2rUqqXatu1S71p2qXfMO1a55u2rXrKjaNW9T7Zq3qnbN8qpds5xnyqp2zTKeuVm1a96k2jVvVO2aN6h2zetVu+Z1nrlWtWv+wzPXqHbNa1T78asdc5VqP27Nlar9eCJjabC9+KRlDOmTD8bmSxkoC2WibBjKS7kxt3j1oE7UrYJXV+p7R4wHhhfw5G6PR/AKnt0X4x+8NPyEp/erVq2qevCBinrkodvU8Ll79V6vBlq6+F2lHh6vvOwpoq1su9GGJ7UtbW3avLAPpKwZEAD3JRhA7r//fjMmMj4yTgN68x3HqSFUwgCMA1IzTgKms3nL6SI2ZfnP8gCcA+wzzq1Zs8a8cw8JoPwll1xi0mc8ZK7g3go2ctkc4LQT4yWXuzKXtG3b1lz6yuYrgnGMn+TLuM68yz0o3DuCDTaLUBSgO9/jjB2UjfGUTVHmZTZLyYOTUPahzNSPvJjDn332WVWuXNncgUIcHsYk5jBOh3GhuX0Y55nfHn30UVM2xnDyPdNPANyXkKMBcF9CBgbRAw6Ucg4EwH3pbmD3w4IPVBYpfICiG/XXv/61Lr74YjVv3txIItiFTOnmSKx2SE0gWYZ+WHhw2WWXGWk8FkmExQPvSyNf3P7BIo56280dQIuHHqmmu6uV05BP2mnehlH6ds8Efbd3YmACHgR9IOgDQR84R/sA4/SSHR+qQ78mqnz/bXrooQcNCICkOSA1koNI8rFBa6XtGftZA9g5obTNd9QVcIfTdQAfnLBzgQs2MABokJ5Ebz3SkhZUgS9IZQLuoM7GPoAlgDcANfCUB1orDblgwQJLamx4i6o+wHtU2WDQMQ/Yw0N6SLED4qCGx30A1wH1CbMP6SMJ76cFFAK8cR+AHgAkexFtx44djTQoZWIz5+mnnzZrQ9zwCYlSAC02FcAS3Ae+wR8k9qG/UB/qjqHN4Uli4L6SliW/K+VMkXKnxGzeXXfuFOXnTFZ+OGbysicrGvpEaUc+1LeLe6hj+7q6845rdXvFm/VE7Uf0etvmGtC/i8aN7atZn72vhfPHK3nJBCUvGafkJWOUvOQDJS8eqeTFw5S8eIiSFw9Q8uK+Sl7UR8mLeil5UQ8lL+qu5EVdlLywo5IXtlfywnZKXvimkhe2VfLC1kpe+KqSF7ZS8sKXlbywuZIXNlXygpeUvKCxkhc0UvKC55W8oKGSFzyn5AXPKnnBM0pe8LSS5z+l5Pn1lbygnpLnY5KKYaCrH4tLGiYt0iRt8iAv8iTvl2JlMWWibC29slJmyv6GkhdRl/ZKXtQxVsdF3bw691Ly4j4xXhieDI7xaMlIJS8Z5fFunJK/maiFC8br81mjNGH8AA0a2E1tWjfVww/dq5tuvEq3lb9Kr7Z6VN8u6WHaiLaizUz75UyWMLatc3E77e75p6zpp6S6dwYS9z9wALHAPd9ynAACVGectg/fMkjZI/3OmMvYWb16dTNeQ8e4yXgO+M7GqDvOAWxfeeWVZny28yJ+AOKMoRYot3kh/c54yFzABsBTTz1lNkTJg3ioM+P0EpL7zAFcLt60aVMD4BNGfOYlAHbGFIB7VJlRJtLAUGZOZrnAfZs2bczcTr7EYz7n9FSZMmVMXW352HjgVACnq958803Dix9DC0sA3FuO/0A7AO5/IOOCaAEHLhAOBMB96W1o/0cFH+YsNvhgrVatmrmY9eabbzYLBvvhWHq5cWLN4A2bGEiwXXfddfrNb35jdLhyhB1A40IF7q20PWBAUtKTKnPrtWrQqro+XzNAi3a8ryW7PwhMwIOgDwR9IOgD53AfWLBthKYk91LVGhVUttyNatWqpQEwkDRkc9pK2zMHAm5cKPPdiauAwBVwoGQc8K+xiwbue0i5n0g5n8Rs3g2gC8Ab88/P+UT5OR8rL/yxoqGPlJM5UWtX9Fan9nX0979frMsvv1RtWjfX/Hmf6uD+tUo7vl5ZGRuUG96gvMh6KbpOiq6WoiukyLdSZIkUWShF5kmRL6Xc2Z5u/WkeqPyxlDNByvlQyhkthd+XwsOl8BApPFDK7idl95Gye0nZPaTs7lJ2VynUSQp1lELtpVA7KfSmFHpdCrWVQq2lrNekrFel0CtSVispq6WU9XICQxg00BLntVgaJi3SJG3yeNvLs1OsDKYs73plo4z9YmU2ZR8mhUfG6mTqRh0/itU5l7pzr8DnUu4XUuRrj0ffxHgWXe7xcJO8xVQAACAASURBVJ3yI+sVCW9QKHOD4TU8n/bpGD3fsL6uuupvuuJvF+mdLklat7qPaSvajLbLN8Zp6xPa3PpPVsqavgFwX4K/oAXuAeRr1KihzZs3m/nMTZINNdSMAYJ//fXXuvfee42EPCeuUUfDJidhqBYrCrgHvGeDACl8Nlv9D0A8aZEmqlgfeugho6oHqX9U2/CtWbVqVbNJwHwLwA5gf/vttwvwfdSoUeaUgE0X4B6Anc1a0sRQZjYYXOCe01BI0rNpQLpswuJH/mxS2Ae1QUjwUwdOfrGZgRDfmX4C4L6EHA2A+xIyMIgecKCUcyAA7ktnA9sPCmwWHEzofKAjdTV16lSj1/4nP/mJufQMN2EX2sOCbsqUKWYhx+kDLuplYYNEogUzrKQFfCxtj+0j1BFe0EcAcpAGQTdixTvKq1qt29Tv45aat22Q5u8YrAU7hniGd+tO9A6tn8Z127SKQ2fziBffhtl0LI1123z8/tbtxnfjWH+XzobbMOu2ebhuS+OPb2lc/3jvls6mbdPz+7tuS+OmZ8NtmHVj23eX3r7bsFPRuem6cay/Tc/abnoufTx/m4afzu9v03b9ixvHpbPx3fRsuA2zbmxrXHr77qfzx7d0rr8bx/q7dDa/4tAVFd+G2XRsHtZt8/H7W7cb341j/V06G27DrNvm4botjT++pXH9471bOpu2Tc/v77otjZueDbdh1o1t3116+27DTkXnpuvGsf42PWu76bn0J/vP2z5IU5f1UPP2tXV9mSv11FP1NHXqFCOxxwY9UnZ+aXvG/9I815W2uTuoz7nBAf8aKjFwf5eWfdM9Bh4DIMcx+eFJyg9PVF72REVDExXJmqBjB0Zp7KhmeuD+m/W3v12q0aMHa+uW5Qpl7lA0slt5kZ3Kj25TfnSTFE2RomulyEop8p0UBYhe5IH2c6XcOVLuTMkA10h/A9pPlMIfSmEPtM8ZIWUD2g+QwgDh70nZPWOgfaiblN1Zyo4D2Ge1iYH1oVd9QH1zKQvTTMpq6hne/W5oWkihFh7I38oD/dkAaONtCngAfrYF8DtLpkxsKPSUwh54nz1Ayh4shROB92yUTJNyAO9nSxF4w8YGvEqO8Q4eRtcYnuZHNyo/ulV5kR2K5u5WRvpWbdr0rcaOHaJLL/2zHn/0Vk2e1ErHD40ybUbb0Ya0JW0ar61jfpOUsqaPkureEUjc/8C/swXuOSl12223iRNlfMe4D/MaJ6uRQge4Jw7ANielAPxRqwPgjjR8UcA96XICKRFwDwgPQM83JNLvqMUBaCdPpNwB0rmLBMCeh7GDDXRORj355JMGuLdhhAPcA/bPmDHDlJOyUmbAfBe4Rw8+pw2stD6bEN9++605SW+Be/JCuh81PHzbwqc77rhD/hNhLt9+6HsA3P9QznnxAuC+hAwMogccKOUcCID70tnA/g8KFh0sClJSUswRaPS6A1YjZcAkD/2F9lBnFmJIY/zhD38w6nJY/HB0EgAbnrHos4BGaeOP20eoKx+dnMjYuHGj6tevp7urlVezjo9pyorOmrutT2ACHgR9IOgDQR84x/vA9DXd1Gt8E5W940rdWuEW9erV08z7bEgjbY8aF8Z55jjGfMZ+gHs7H1yIa4HSNrcH9Tk7HLD/GdaI/IcSA/d3atk3XWNAeQ5gLmZigYmBvBOUH56gvOwJimSNV07Gh0pZ3VOvtnpY5ctfq3pJtbV2zWJlZexUft4+KW+3lLddim6Wokjbr5WiqyQkxiNLpchiKTJfinzlgPZcmoqudQ+0zxlXCNoXSNoDfPf1JO0B7d+RQl2lbKTsO/gk7D3A3kjLIzkP8O4C9S9JWS9JmS9KWY0LTabznkWYR5fVxAP1PSDfSOojiY8UvgXw3/DK0D5WJk4AUMZspO97x8puNh7igffw/GNP8h5ezPKk7ud6vIJnS2M8NLz8XopukKJbYrzO2638vL0KZe3S+pRktWjxoqpUvkUd2tXS9yt7Kpw+1rQdbUhbxkxhO8favLDtU9b0UlLd2wPgvph/V+YuV+e7Be5R7cW3LMC2q/6F/ydzHWFWzRg63vnuYxObtFCHxjdwq1atigTuSWv79u1G6I0LZ/m/uw+bAUjNA9QD4qNujdPtCMsBkHO/CupwuOjcPoDonPLmuxMhMvcBuEefPbr5KSeGMluQ3uq4p84I3wHYw4cHHnjASPWjDhfgnjw4AfDSSy8ZMB/J/J49exrgHnVnnMI7k08A3JeQmwFwX0IGBtEDDpRyDgTAfels4HgfFAD37M4nJSXpv/7rv3T55ZerT58+JywkSic3EteK/s/lRVdffbV++9vfqmbNmuYSIhaIfIS5koiJUzn/QugfdlOCOgLeYNADzEKxU+f2at3lOQ34tLlmbuqqzzd3KzCznHfX3313aXj3u11a3t3w4rjjxXfTcN/jpRfPz43Du+v252fjuzSF7zF+FboLeeemQ7hL43e7tPa9kP7kPOLFn7X55LYrTMPN/+T0Ts4zRu+P78/DxrN2If3JeSQqc2Gc+HnG0j6xbjY/7FPFL0mZ3XzsO+mdKk9Lm8g+VXx/maH3x4mlfTKf4+X5Q8pcmN/JefjLQ55nusyxNAv/T/Hy9Ne1sMyxeKdyx4vvxnHf/eWxcYuiIcwfbuNZ2x9+Krctx2cbumjY7JZq8NoD+tNff68XGj1v9JijH9dK2zPnuRfSMu7bzWnmheAJOBBwoHgciLfOZkMMsJCLLJGW/cc//qGn69+hZd90kXLGn2zC45VvzDjlZY9TNPShcjPHKuv4KH326WuqU/sO3XvPXRo5or+OH92qaC6g/V4pb6eUt1WKbjxRRU70OymCtP1CKffrGDBt1MLMiF2Ei9oWs3EwTsoZI4VHFarHybbqcQDAAcIBxK1qHNTivCWF3pCy2nrqcADVLWCPFD3AOyD8i1JmIynzBSnzec80lDJd08BxQwNtIw/cJw0L4lspfA/ANxL4gPeU5e3E4D2S92HAe1T/vB+rKxsVZsMENUVcEgtPPJU58MqoFfpGgoeoGzJqh1A/tDHGa8PzvcqL7tfxY9s0fdoEo/P+maeq6NNPWin9yEjTdrQhbZkfxoyXMHHaPmVNTyXVrRgA98X7uxnJcy4R5z4RgGuk2AGhOSWM3nnuIFmyZIn5/zGvMe+hIgaDjnek1ou6nLYoiXuKSL7cgcJ3M4A78ybfiUjSIwnPJbVIswPcN2rUyEjeEw/QnVMBbBrwDc4YwUMZAfK5lJZLa90H4L44l9MC3JMfKnmQ0OfeFNyowgG4p8xsDAD4Q4OOffT9czF669atTbncfEv6HgD3JeRgANyXkIFB9IADpZwDAXBfOhs43gcFoCyLHo4U/ud//qcqVqxodurpAxfyM2nSJKMu5+c//7luvfVWs4BCCqE0q8ux/QMb4N6C9/QR6r4keYHmfDtGs77vpc82ddT0jW9r+sZ2xp628W1N894L/WNhuAmDxobF6G38WJg/fqGbdE6Mb9O0+Re6bR5unoXxY2VIXGY3z8IyxspZ6I6ld3KelDGWdqxctl62npZHlsa6bZn99H53jK4wD1sum56f3roLy5uozCfzpegyx+ht/tTD0rt54hczRZU5VqZ48W29ituWNg1rx4sfC/O3ZcxdSH8in2L8c+vsL3MhfWEa1PlkvtiyxXjm54u/P7t5xspo48fjM34n50nZbLqx/E4sYywcmuLyuTA+6RbWwZYpllZhnjb/WLxC+ph/vDIX8i1WJpuWLWNhmd08Sd/vLqzXiXFsHfz0bhktjS1DYb1OLLNtS1tPS39i/NNrS5vGiXnG6mDLaPOzbuyT8xz/XWu9MeAJ3VH1et1SrqxGfTCqQNqeD3irIieRtP2FvA4I6h5w4HQ5YNdRp5a4B7jvFNMlj2oao3fds8MfKj88VnnZYxUNIbE9WuH0UUo9NEyD+j+jhx4or6fq19HyZfMUjRyQ8vYXStvnOdL2kVVSZJkURd3Lopj6l1zUwDh67c2lqajqAUge64H2Ixyd9lbSHtAeffZdHNU4AOVWhz0qcfyAPWA9kvQA8AD0APPPeuYZKRPzdByDv6V7zotrQXyk8f0APnrwW3tlQX0O4D3qeygrZbaS967Oe8D7UR54T92RevdU5hh99/AIXnFCYZHHQ3iJyhxOMqyX4DUnHMxJh/3KCe/VhvXf6tlnkvToIxXVt1d9Hd47WDnpqMwZY9qSNqVtjTqigjYvdKes6REA96fxpwPc7tKli1F1g853pNgB7PkfcqIM/e/jxo0zl8Jyyffs2bMNgI7EO5tpXEKLChto+c/yMBdyyhg985xItw8XynL/GZeCW1pAevTo9+/f34DqbBKQDxt0qBclP76huBC3SZMm5pJamx4bDS+88IIGDhxoJP7xB7hHJ/27775rNtgtLTaX0FIX5m37UI4RI0YYUJ70nn/+eSPNz8YApwAefvhho/qHUwft27c3ev/ZGKhUqZLZMCA/HtKBpn79+mYTgm/dM/UEwH0JORkA9yVkYBA94EAp50AA3Je+BrYfExaUZbJmYmai5pjcFVdcof/5n/8xkvdLly69INXkuK2+bNkys6ACuL/qqqvMkUqkJjih4Je6h6el8aFeOdlhHT9yVPt27tbRYwe1L3W9Vh+YptlbumvK+jaavP41TV7f2jO8W3eid2j9NDH3J8bfxrO2pfe7i/KPhcXSO5GuMA/8TwyLlStWlhPfLZ21C8sSL4/ipevmU1iWk9NrrdMvsy2fm4f1s+mdXJfCdnHD3Hebhk03Flb8MvvT8rtt+if7n5yHLYO13ThFvbthNr9YGvH57Ke3bmvbNPzu17x2O9n/1Hx24/Bu3dYuzLOwzNYvVpfC/uu6T47vL0s8Phfm4ZbFzc/Nw77bvKxt6U/V/yydtU+Of+oy2zz8ZbFpWtufdiJ/m56f3rqx7bvN06bl2oV0J/PZ5mHj2/SsbdPxuxP7k8fH615V3xnP6Ykmt+ua668wH/dcQofUIR/56NO1KnLspnRpPVFWGufooE7nHgfsWhsgjP8S68X4Eve3a9k3HT3gGCn3Md47wO4Y5WePVl72aEVDHyiSOUrZqSN1ZP8gdWhXQ/dXLa8WLRpp+7ZVyosA2jvS9nmetH3Eu5A26l1Im7vAU5HzhacOZrqUg157QHsuagU8/kDKGSmFh0rZg7zLXa2kvQvao1P+zZiUvbk4Fsl3LppFnU2TmBocI13fUMqyYL0F6etLGfWlzHpSRlLMZCZJmIwnY7YJgwYDsG+BfNJCEh/JfQvgN5dC5G2l79lIsLrvPfA+5KnNCVMXB7xHf78B78d6PLCX1boqc1ArBHi/WNmZi5STtVT5uaukPJ/Uff5eRXL2as/u79WqZRNVu/82vdn2Ee3d3te0XW7mKEVDsTalbWljc7rBnHCw72OVsrq7kupWCCTui/nX5j/GnMap8SeeeEJcCGtBdZLg/4hkO+pPq1WrZqTKmfPsw7ce4D7zoY3Hdx4qcADKOW1sH8B9gHDU3VhaG8aJNfTXswnw4IMPGtDcAuykB7gPkM+GgH0YG3Cjwmby5MnGm/qgqgdJfTYV3Ae1O2wIcPrbPpSDDQuk5/meb9eunagTYw7lfOaZZwpUBSFR37hxY1MW1OSgd9//EB+99/DjTD0BcF9CTgbAfQkZGEQPOFDKORAA96WvgeN9TLCY4AOenf2//vWvAqRG79+aNWtKHwNOs0YsspDc+NnPfmb0F7Lgwe9CAe7pLywgj+7cp41zvtGaj+fo2MG9yggf0YGMDVp1YKo+3fiWJq17WRO/bxaYgAdBHwj6QNAHzrE+MPKbF9So0z2qeN91qlr1XnNybMuWLUaNgJW2B3Cw8xob+oz7gAHMAcETcCDgwOlxIN5aOy5wX6+iln3TXsr5wAPMAc15H6X87FHKD49SXghJ7ZHKyRihUOpwHdjdTy81qqy77yqjN99opcOHuCTV0W3vStsjGY60vblc1buQNvdLTw3MZ1IOamFQkYO+de8y2pz3Yxe4AtqH+zsX0aLTvosUAgh3QXt78Syqa1CLg+56QHXAdQvYA7w7QH1mXSkDU0fKfCJmMp6QMLjNex2Ppm4hkG/S8AP4SPOjQoe8Ae+5wBbpe3Tfe3rvkbw3pwTYePAurDWX7FLHYbGNipzR3okHeOFXmfOld5nvIi1eMFSrlo9T+vHFcaXu8yJ7dezoFrVv31p3VyqnFxrere2beinr+DDThrRlXvb7pm1p49imgW137FFKWd1VSXVvC4D70/jbsemMhDlgczxJcf5/Vh88+IY7t1kBNheIJ5y5kNNoViKd4jA3ol4uXh7EYS6lDNCQp03Tpgfg7qZn/dlAJ659yIfNBeZl97Gb7DZdG0Zc6oU/eVA+0sam3pYeGuZ9yoDNxoH/oSw2LX/YD3UHwP0P5ZwXLwDuS8jAIHrAgVLOAQZtjntxUzo3m6MvLXjObw4wiWOYwJm0mdBZFKCHj+Nzf/rTn8zFtOz8r1+//vyu7BkoPRsab7/9tn7605/qd7/7nd555x3DFxZjLHbgIby0fD0DWZ61JCLZYe1ZuEqL3xyquS++e4JJ7jhSR9fvUG4orOM792n1qBn6LOltffpYG62bNFNHdm9Xevig9mWs0/L9H2vaxrc0fu1LGrvmeY1d09CzeXcN/m6Y++6ni+f207tu3q3b2jYNvzuef3FoiGfpsO276+9P26WJR+entzT+eInorL9r++Nat7Utrevm3bqtHY/O+mG7dO67n8YNc9/9dPHcfnq/28Zx/Xl33ZYG2/V33xPRuHH86frjW7e1bZp+dzz/omjcMPfdpuOW0fpZOmv7/W0cG27teHTWz8axbn+cRP6WDtu++9Ny3S6N62/Tt7ZL50/b0vjju3ES0bhx/PSu283T9Xfju3n4/f1xLK2brj+OpYnnb9Ozdox29KqG6jihhio9do3KVyhj5jMu4EOaj495PvAtEMB6gDnNBe2Z24In4EDAgdPjgF0Tsj7k/5RQ4r5eBS375m1P1zqAeaHJDwPwjlQ0a6QimSOUkz5cmccGa+/2Xqr1WFlVuPVGde3yhkJZO5UfRdp+l5S3TYpu8iTBV0sR9LF70vaRBVKucyFtzjQpd7KnHgY1MUh8W732gyV0wWe/FwO6zUW0qJzhIlo/aG9V4zT1QPsXpCxU4qDe5mlPsh5JegB4gPraUkYtKaOmZx6XMh6TMrDddy88s1YsjomLND5S+lYK/1kvL/JEJQ9lQPq+ZQy8N3rvPbU5ZsOBOiB53yu2IVFwWe3wWN0ND+CFJ3VveDTTu8T3KymyQN27Nlbnjo01/6vhCmctU34EqXt4vs20QX50j8KhXerVs6MqVCijmjXKavO67so8NkTh9GGmLaOhEaZt87ML29tt+5TVXZRU99YAuD+9v11AfQ5zIADuS9g4AXBfQgYG0QMOlHIOBMB96WtgC9q7wD0gNDfLI1n+xz/+0QDU3bp1ExJ5F/qD1AS8QOIe8B4Qn8t94JkFOc5X4D43I6SNE77UJ1Wa6oOr65xgpj7YSnsXrdbRTbu09oPPDGg/9ob6GnNtkmbVf1vfT/hMh3duUVr4gAHvl+4Zq6kbXtfo1c/p/ZX1AhPwIOgDQR8I+sA/uQ+MWJ6kAfNr64lWZXXDrZebC/DQ+wtoby+kRZoQST3mM8DFALS/0Fc9Qf3PBAdOD7h/SwqjmgaVLZiRArTPzx6hvNBwRbOGKzdzmMLpQ5RxdKB2b+mh+++7VreUvV49322vaARp+z1S3g4pb4sU3SBFv5einm77uNL2M6ScqVLOx556GKTtkfR39dr3k7JRK9MjdhGtAe25iBYgnEtorT57TzWOAc7RQY+UPVLxT3kg+5OeBD2APWA8IH0NKeNRKaO6lPFIAkMYNBjiEBfAH4l8NgHqeXmQF5sESPgjfY/ue8rEhgKS91ZtjnthLXXqLYX7SuGBni5/6o7EO3cMoDYI3kx1LqqNSd23aFZT9ZLuV7/3XtPybycoO3O58iPout/itcEe5UX2aUD/7ipX7iZVq3qtNqzpbNounDbEtGU0NNy0bX72cNPWhW0fa/+U1Z0C4P5M/BGDNM4ZDgTAfQmbIgDuS8jAIHrAgVLOgQC4L30NHA+456OdkxXcOP/73/9eF110kblgh4trLvQHacQ+ffroV7/6lbm095VXXtHy5csLgA4rnWg/0s4nfhUF3E++r4U2T5mvNcOn6bO67TTmhnoFwP7ofzypWU+319oJM3R41zalZR3SjiMrNTdlqIbObawOkx7UG2PvDUzAg6APBH0g6AP/xD7QZlQVvdSrom64/RJVvLOcOnToYE6MoaOXI/KutL09QQZwb+cz7OAJOBBw4PQ5YP9Dp5a4v03LvnlDyuGS1GHG5IeHKz97mDF5oaGKZg1VbuYQZacNUvrh/tq5ubuq3H2Vypa5Tr17dfRdSovkd4oUXRO7QDXynRRZYiTFFXGk7XOnxS5hNZexetL2RtqfMqA+BtC+j3ehazcpu7OUDWhvL6J9LSbVbvXZZzX2gHMAdIB0JOKRjrcS9hawB4QHqH9YynhQynjAM9WkDNfgTzjmIS8OcQH8H5eMFD5pk4eVvn8udgEuGwgWvA+hNoeyAt6/FauDqQt14rLaPp46IE9lDjwwUvfjYicROJEAr3I9qfvIV2rR7HE1ePZh9ejeTCOHt9eGlGnKSl+h/AKp+92mTQYP6qFbyt6oe6tcrZRVHUzb0Ya5GYMVzRoi2jY/e6jyTbsXtj99IWV1RyXVLR9I3J/+Xy+IcY5yIADuS9gwAXBfQgYG0QMOlHIOBMB96Whg9wOCjwj7IQHojJocbrr/4osv9NRTT+k3v/mNUZfz/vvvG6m80sGBH14L/gODBg3SxRdfrH/7t38zF/qwyYFqAStxbyUULW/PF7CjKOB+0h2NldzxfX1StYWQtPdL5I++9knNQPJ+6pc6dPiA9h/cq3mLvlC7bi1118PX6trbLwpMwIOgDwR9IOgD/8Q+8I/b/qDLr/+1LvnL79WwYQNzOd+BAweM/l17Ia2Vtreb0Mxjds3ww2fOIGbAgQubA/Y/ZNfbiVXl3KplS173JL6Hmgth87OHKD97sDF5oSGKZAH2DlB2an+lHeqrHZu6OsB9h8JLaaNbJS6lzbPS9sulyFIp4um2j1jd9qeStndV5KATvrMU6iCF2sV0xme1jumRz0KnPdLtLmiPLntU2aC/3pWw9wD79IekdED5+6X0qlL6fVL6vZ65R0rHWDdh0EBLHD+Az2YAeVjpe/Jm48BTm2PBe3TeZwHev27qkJfZXqkH3tLhPW/ryJ6OOrKni47s7a4je3vqyN73dGRvfx3ZN1hH9g3XkX3v68i+MTqyb7yO7J+kIwc+0YuNH9E7XV/U7JnvaUC/1zRqZEdt2zxHudnfS3m0wU7TJoMHvWOA+3uqXKV1K99W+uH3TBvmZAxQNGuQaNtYOw85of0VHqKU1e2VVLdcANxf2MNIqap9ANyXsDkD4L6EDAyiBxwo5RwIgPvzv4H5eABg5jg8N83Tpritzk0L3E+bNk01a9bUL3/5S3NB7aRJk8zFdec/B0pWAwD6ESNG6IorrjDAff369fXVV18J0APeWdUCvMNbeGwvMjrXAfyigPuPqzTV2uGfakadtzTulmdPAu7H3vyU5rzUQxu+Wqr9+/drx84d+ujjj1Sv/pP64yV/0C9/9bPABDwI+kDQB4I+8M/qA7/+uX7161/o17/5pe688w6NGDFc27dvL1CRw3zFpr07j7mg/bk+f5VsZg9iBxz4cTlwesB9G0/KHanvQcrPtmagoqGBimQNUE56f2Wn9lPaod7asbGzqtx9pcqWuVa9e7WPqcmJWjU5670LU1dKUaTtv5EiCxWTtv9Cyp0l5U53pO3HSeExnm59T9o+u58UdlTkhBy99lz4mvWKBGhv9MmjVx4VNZ4+ewvaGz326Kt/VEpHwh7AHon6qlIGgDwAfRUpvbKUfreUdnfMPuGdMGju8eI4AL5Jk80AT/reXHKL6hwL3j/v6Lxng4Eyt1Fe5hs6tr+12rxyu6o/fI1qVL9WNapfpxrVr1eN6jeoRvWbVKP6zapRvaxqVL9FNaqXU43q5VWj+q2qUb2CajxaUTdcf5m6d2mkrZs+1splY9W7ZyvNmDZQO7d/rbwIGyc7pPw9Gjyou24pe4PuqQxw/5bSD/dWKLWvcjL6mTalbfOzMbF2j510iL2nrH47AO5/3L9okPpZ5kAA3JeQ4QFwX0IGBtEDDpRyDgTA/fnfwADLSIhz2SzAfOfOnbVs2TIjMU6YBe4//fRTPf744wXA/UcffWQ+8M9/DpSsBgD3I0eO1N///ncD3NerV09z5841AL0LeCxevNjwFmC/RYsWSklJMbwtWe4/buyigPsp1V7W9tnJ2jpjkb5q2kvjb21QAN5/ePPTmt+qr7bNSVbqgcNmwwLwfunSpWLDZ8CAAerbt29gAh4EfSDoA0EfOEt9oF+/fsL079/fjMEDBw40p8WGDh2qyZMna/Xq1WYz3m4uA9r772pxgfsfd/YJUg84ULo5UHzgvryWLWkd07Oeja71AcrP9kyov6Kh/opk9lNOel+FjvdR6sF3tX1DR1W5++8ecP+2lIdqlu1SdLMUtWpyVkgR91LauVLubCn3MynnUynnEylnoqfP3dVt75O2DyFt76jIMXrtX5aymnnAuNVp70rao4cenfToqH9YSn/Qk5q3gD2AfCUp/S4p7U4p/Y6YSbtDwuA2NmF3ebQA+4D4pOEA+CYP8iJPVOdY8B49+0jev+SVNabvPprRWod2tVTjhmXUru3dmj39Wc2e3lCzpzfS7BkvafaMppo9o4Vmz2il2Z+9ptmftdXsz97U7M/e1uyZHTV7ZhdNn9pJ69Z8oKy0uTp2+EstnDdCI4a11+xZw7V/7xLlR7mkdrcGD+rmAfdXat2K3sTdGgAAIABJREFUN5R2qKdpQ9qSNqVt80OxtqbdjeFC4PBApax6S0l1bwkk7kv3MHFB1S4A7kvY3AFwX0IGBtEDDpRyDgTA/fnfwEjXI01ftWpV/c///I+qVatm3Oi3tUd3+YCfOXOm6tatq1//+tf685//rLFjx4oj9Rf6A3AP8PHXv/7VAPfPPfec5s+fb3QDu8D9+PHjdf/99+u3v/2typQpYzZHCD+Xn2h2jvYtWaulnUdpwSv9TjDf9Riro+t3KOvQMW3/PFnzWvTRhNsa6sMyz2jey+9pxxffKvPwcaFegX7EJb7btm0zGxasLQIT8CDoA0EfCPrA2esDbBZj1q9frw0bNmjTpk3avHmzGZd3794tv157VOS4c1gA2p/Ls3VQtvONA8UH7stp2ZJXpez+BSY/u5+MCfVVNATI+55y0vsodLyXUg/20PYN7X3A/a6YipboRim6ToqulqLLpESX0ubaS2k93fY573v69ZH2di6kDXWVQh0LVeSErIocLn59ScpsJGU2LNRpX6Aex4L2npS9UXeD+hsL2N8ppd0upVWU0ipIabdJabf6DH4VpPSKUvrtHrgPiE8aSOujQgcJftTnsEHgB+/Rs0/ZGnngPWVupWj6qzqwo7lefL6MRg2rodCxDgod66LQsXcMf0PH31Po+ACFUocqlDpSodQPFEr7UKG0iQqlfaJQ2qcKpX+mSPaXys9dqGh4iY4e/EpTPumtUSO7aMG8ccrNRup+5wnA/fcrXlfawR4mD9qSNo1m9VV+CAPPTzQpq95QUt2yAXB/vv3xg/Im5EAA3CdkTfECWFADQvz85z/X8OHDjQRh8WIGVAEHAg5cCBwIgPvzv5UBVT///HM9/PDD+td//VdVqFBBEyZMMNL0FrgHnP7666/VoEED/e53vzP63IcMGSI+9i/0B7U3SDHCl//4j/9Qs2bNlJycbKTMLegBeD1s2DDdeuut+t///V/deOON+v777406onOZf3mRqDJ2H9LexWu0++vlJ5j9S9cp6/Bx5YbCSt91UBvGz9GcZzprRs3XtWnyPB3bslvh9ExFciMGvEd10L59+7Rr1y5juNg4MAEPgj4Q9IGgD5ydPmDHXubtPXv2mPGYk1AA9mys2stoWde5oL1ft/25PGcFZQs4cL5woPjA/S1atuQVKfs9KdxXyu6rfGPeU36oj6JZgLy9lZOOtPa7Sj34jrZveFtVKiFx/w/17tUuplM9ukXK2yBF0W/vV5PztRRx1ORw4aq5lJYLWEdL4ZGejnWkvd+TsntJ2d0lI22PbnvvQlqk7UNI2zf19NoDjD8buxw240lP3zzqcQDSLWiPhLynEicNCXsAe8B6gPryUlo5Ke0WKa2slF5GSsOU9fwIKy+l3yqlA+QD9COFj/Q94P193oW2HnifSd5I3qPzvr6URdkaxspqyvyyoumtdGB7U730QhmN++Bx79Jd9Pj39OrOiQN0zo+M8SbHuaQ2x7ukNjJHisDThcqPLFFO1hLNnTNEw4a8rWlTBimclaL86A4NHtTVk7j/u75f3kZpB99R6Ni7yknrqUhGb9O2+dl9lB+C57G2j/WB95Sy6vUAuD9f/uxBOYvFgQC4LxabEhMFwH1i3gQhAQcCDsiAk6hZueSSS/Tkk09q3rx5AVvOMw7wUU670X7/8i//YkDlUaNGGWl6F7hHzQmg9B/+8Af9/ve/V69evYw+3POsume8uADS7777rn72s5/pv/7rv9SmTRutWLHCqBqywD3qBvr06aPrr7/enGooW7askXQ844U5wwnm5UaUunWvdnyerC1T559gdn35nTL3H1HGviPas2i1UsbM0vLe4/VNhxFaP36Ots1crENrtxhgnz4GGHT48GGj7x6wKDABD4I+EPSBoA+c3T7AKTkMYP2hQ4cMYA9ozzzGJnQA2p/hSTRILuBAAg6cHnDfUspGp3wfY/Kze8uYUC9Fs3orktFTOWlIa7+j1IPdtG39m6pS6W8OcO9TkxNZIUU9NTm5C2L67SOempxc1OR8LOVMkMJjpZxRUni4FB4shftLYcrwrpRtpe3fjl1I65e2z0JFDnrtn5IMaP9ETN+80Wn/sJTxgKfWBtAetThI2QO8A9gDyJeRUm+W0m6SUm+UUm+Q0jzDO34mzIL5xCEuUvio0iFNT3VORjWJS2/JG533GZTlyVjZKCNl9VTmRNNf1oHtL6lxg5s0tP9DOrKnrY7seVNH9rTXkb2dvUtq39WRvX10ZF9/HdlrL6kdpSP7x+rI/gk6cuBjZaXOVF54nnJD87Vz2zSNGdVRH47pppXLpyiSs8GoLho8qItuKXu97ql8hb5f/prSDnY1kv20ZSSzp2nb/FBvYdz25z1lVRsl1SkTSNwn+H8F3ucfBwLgvoRtFgD3JWRgED3gQCnnQCBxf/43MKAqEuKNGjUywP2VV14ppOn37t1boCoHifs1a9aobdu2ZpMGdS/t27c3R+3Pfw6UrAYAIJ06ddJPf/pTo/+/Y8eOhlfwzAL3gCJdunTRVVddpf/7v//TXXfdpa1bt5Ys47MQOzczpC2T52nao6014daGJ5iZdd7S/uTvte+btfq6WW+NL99A48o+a1Tl8D71wVZaNfATZR9PNycLULeE7mTA+8AEPAj6QNAHgj5wdvsAAL01R48eNRL2zE0Y1nKM0UVJ2gM0Bk/AgYADZ4YDxQfuy2rZkhZSGCn3nsbkZ/eSMaGeimb2UCSjh8IA98e6K/VAZ21b/4YD3L8l5aFTfZOn3x41OcsTq8nJQU3OR1IOanKstP3QmI59I/FPOd6RQl0S6LZ3pe1RR4NO+TqepHsNKeMRKd0H2hvd9YD2SNgjXQ9gDzB/vZR6nZR6rZT6D5/B7zqPBkCfOEjikwYS+6jPQXUO4D1qc8iTS3ApQ81YmUzZPJU5WY3NSYFoenMd2P6iHnvkCt1W7mLVeORq1age75LaG71Last4l9TaC2pv0+M1KurD0W119OB07d89TR+MfEujRrbXd8njlZm2PNYWeds0eFBnB7h/VWkHOyvrWDeF094xbRrNfFf5oZ6mrWOnHGLtT19IWdVaSXVuDoD7M/N3DFI5BzgQAPclbIQAuC8hA4PoAQdKOQcC4P78b+BoNKpVq1bplVde0f/7f//P6K/n4lCO1bsS9+jCBaBGv/0vf/lLQ88ccaE/O3bsMBf7AtxfdNFF6tmzp9HfboF77hAA3G/Xrp2uuOIKw7vq1auLeOf6U9TltADzexetNuaLBl0LLqb94Oo65n3SHY21vPcEA9yjG5lTB0h0WqAIED8wAQ+CPhD0gaAP/Hh9wI63rp2WlmbuYLES9sxVAPb2Ilrmfb96nAC0P9dn66B85xsHig/cl9GyJc09KXck3d9VPiaE6aFoJiBvd4XTuinrWFcdP9BR29a39QH3WyVXv31kmRRNliKLpNx5Uq6nJidnupQzxQPux0nh0VLOiJiaHC5FRV2P2TxAdUwnKYS0/ZtSVmsp1ErK8nTbu9L2mX4VOVxEC5DuSdob0B6gvbyUCvB+kwfGA8xfI6VeLaVeJaVe6TP4EQbNtbE4Jq4F71Gdw0W2SN57Ou8zyNvTd59ZWzJle8o7GRCTus/PbKbQ0eaaM72WJo55VJMn1NLkCXU0eWKSJk98SpMnPqPJExto8qQXNHnSi5o8qakmT2qhyZNaafKk1zR5Uls9UftO9en5olYtG67PpvVQ3z4va8nC93Xk4Hzl5a6NtUXeVge4/5u+X95KqQc6KutoF4VTu5k2pW1pY9o6dsqh0E5Z9aqS6twUAPfn2x8/KG9CDgTAfULWFC8gAO6Lx6eAKuDAhcqBALg//1seUJXL6t5++20D3CNN/8477xg1OC5wjwR+7969ddlllxnp8oYNGxqVMBf6Bz266lEhhKoceDNo0CBt3LixQFUOwD2bIK1btzbh6MJ/+umnz4v7AUoK3K/oPUHh4+mij8EHwCFAIgxjR2ACHgR9IOgDQR/48fqAHW9dG8l6K11vAXtOhzFGJwLtL/R5/vxf6QU1ONc4UHzg/mYtW9I0JuWOpHs2YC6mu/Kzuima2U2R9K4Kp3ZR1tHOOr6/vbatb6MqlS73VOW86V1Ma/Xbr5Ii30mRb4wOduV+LeXOkXJnSuhoz0G//UQp50Mp/EGhmhxzOa6jJifbXkr7upT1mpTl123vStvX9NTUoNf+fimdi2jvjgHrRjoeKXlU3qASBwl7pOsB5f8upf5NSr1cSr1MOu4Z3o3fFR4NtMS53pPUJy1U53hqcwp03pM3anpQmUOZOAnAiQArdf+ikbrPz3xZGYda6Ni+ljq27zUd29dWx/a/pWP7O+jY/i46tv8dHTvQS8cO9NWxAwN17OBQHTs4UscOjtaxg+P04gvV1Pa1Ohr7wet6r3czzZn1ng7sna1oeLl3xwBtseVE4H5ZS6Ue6KCso51MW9KmtC1tTFubUw5e+/OesqpVANyfa3/qoDwl4kAA3JeIfTJSg8HltCVkYhA94EAp5gAf3IGO+/O7gQFVt23bZsB6JO65PBV1L1u2bCmQuOcjn6P1I0aMMHra0eXOZbZcWMuH/oX8fPXVV6pTp465xP2GG27QuHHjzKYHPLNgyKZNm9S8eXP95S9/MRf7tmjRwlwMeK7z7UwB93ygIsEJP5DqDEzAg6APBH0g6ANntw8w/roGoN6C9S5gzyk81gUWWLT2uT5fBeULOHA+ccD+r/iv8Z9zBWW4+2PGjBn6xz/+oafrAdw3kbK7SaFuxs4PAeZ2VX4W4G5XRdI7K3y8k7KOdtTx/W9rW8prHnB/jXr3ArjfIkUBi5H2XukB90skq98+19Vv/0lMv33OWCmMfvthUniQlN3P07PO5gFqctxLaV+RslpIWU2kzEZSZgMp82lPor22lPFYTEVOgV77yj6d9kjJoxoH0B4JeqTrAeUB6v8qpf5FSv2zdPxPMcO78SMMEB9aJPCviaXhSt6nV4zllU6eXFb7oFcWyuRJ3aOHnzJnNYrVgbqEXpFCbb2Ld9t7l9RSd1QFwYtBMd5wBwC84k4A7gbInaoWTR/W0/XvVdfODTRqZFsdOTBL0XCydykwbbDeA+47eapyLtf3y1oo9cDbyjraQeHUTqZNo5ldlJ/VxbS1bXtrp6x8WUl1bgwk7s+nP31Q1iI5EAD3RbLn1IGBxP2peRRQBBy4kDkQAPfnf+vz8YA0/cCBA42O+3//9383uuyRwudDgg99QGiO10+ZMkVVq1bVf/7nf+q6667T2LFjjZ7c858LP6wGfHANHTpU5cuX1y9+8QtVrlxZX3zxhbl41QL38G/lypVq0KCB/vjHP+rSSy9Vhw4djPqcH5br2Yt1JoF7+2FqwaLAjoFmAR8CPgR9IOgDZ7sPMLdbY9XiWMA+AO3P3hwb5HThcqD4wP1NWrbkRSnUNQaYZwPkWtNZ0cxOimQgpY2alfY6vv9NbVvfSlUqXaayZQDu35DyNntg8RqJi2kj3sW0kflS7lzJAPczJFe/fXiMFH5fCg+VsgdK2X090Lq7FOosZbf31OS0kbI8NTmZL0qZz0uZz0qZ9WMS7ZlItteIXQ6LtH0GamtQX3O7lIY6G3TaW/U4SM0D2v9NOn6pdByA/hLp+B+l4xdJqRfFbN6PX+yFQXOpJ5lPXMB7dOOT5i1S+m1eXui7J2+k7rmotoaUWcsrY32vzJQdqXtU/rSSuHAXVUAh6kqdkXwHuO/r6fxH9/9IKWeMdycAl/pO1astH9WTdSpp8IAWOrx/mvJyFsV4HuVSYA+4z9uswYMA7q/TPZUv0/fLmir1wJumDWnLSHon07b5oc4GvDd3CrBhYjZNuiplZQsl1bkhAO4v3CGk1NU8AO5L2KQBcF9CBgbRAw6Ucg4EwH3paGAurPvwww+Nupd//dd/NSDzokWLDGBvgXv04X7zzTdq2bKlkcq/5JJLjM571MJciA8fXfDt1VdfNXr/0W8POM8lvugTtpf8wb+5c+fq0Ucf1a9+9StdffXVGj58+Hmx4XEmgPuc1AzTPaxUGeBQYAIeBH0g6ANBH/jn9gHGZGssiGjtC3FOD+occOBscsD+1+zaKLHE/Y1atqSxFEKnPOppOio/1ClmsjoqmtlBkQyktNsr60g7Hd/3uratb+kD7u3FtBa4XypFFksR9Nt/KeV+LuUC3KPffpKU4+m3D8fTb4/kv9Vv/8aJanIyueC1oad6pp6U8YSU8XhMr3y6o9s+DRDdXkZbRkrlclkHtAeIN9L1F3tA/e+kY7+VjnvGvP9eOv4H6Rg0fyoE748jeW/V5twspZeT0tGhf6dzUa3Vdc+mwhNSZpJ3QoCyU4dmUlZLKfSaFHrD0+XfyQPuuSD2PSk8ILapYYB77gLgMl8u9Z2iD4Y31/gxrbV5/Wjl5Xzt8XqpZID7NbFLgl3g/m6A+yZK3f+6so62M20ZSe+gaEYH5dPeWfDba3+joqiTUlY20/9n7y3Aq7i67+Hv6/urvHWn0EJLaSlQrC2uxQnB3YK7u0PRFqe4FIfi7u4eIYHkIoEIRLB4bvQm6/+sM3OSyXATJH1bSM99nvPMmaP77H3m3jtr9qzt1LKoAu7/zotWzfU/1YAC7jOpXgXcZ1KBqrvSQBbXgALus4aBCcofPHhQeI7/97//FZ7ja9asEcFD6QlIEJq2vn37tvAwJ087g7GSq510OQRg/m0f3mxdvHgRLVq0QPbs2VG4cGERA4A6oj4ldzD1tmLFCpQpUwZvv/22OF64cEE8FHnRdZaUaEN04EMEnb+Ku8dd06Tgi16IDYkQ6YGHd5o6tg06ewXhtwORlJgolsmbVAkSqWMqYKZ0oXSh9oDaA3/3HpCgob3ji/67pORTGsgKGpDXHq99/ofOGLjvBsSSmma8OCbHENAdj2TrONiixyExciziwsbAGjIaYcEj4GPpj2qV86R63NsMwL3NFUgkcC8D00rgfjeQYATuyW+vA/cEqUVgWgZHJV2Pzm9vJb/9EJ3fvrdGNZNCk+OkUdFImpzI2qnc9pEVTd72pMghT72kxyEtDgF5AvME6z8Bwj4CQvUk8p/odTn0tvS8l7Q53wMRDFhL+h3S8NDrnoFqq+gyOKaly4lqrQP3ki6nj74mAvcjNbocrlmsnTog1/88LWiv0BGB+3XaQ4+E7bh1bQn8b62GNWKvFvyXurYZgXsvwHYTixZO0DzuBXDfC+HBI4QN48J/ETa1RY8VNqatpe3l0XK5twLus8IXgVpDigYUcJ+iiufLKOD++fSmeikN/Fs0oID7rGFpcg2TzqVbt26C8oVBVseNGycodIzA/f3797Fv3z6UKlUKb731FqpUqQIC/NwH/7YPb7JWrlyJChUqgAF9K1eujP379wvueuqDwD3pcoKCgjBq1Ch89913wuO+WbNmQq/s/2/6KOBegZN/Nzip5lN7Tu2BjPeABA/l8d/0m6TWqjTwT2pAXnNPBu5/gMvZrrrX91hxTI4hoMv0C2zRBHnHIC5sNKyPRiIseBh8LP1QrfLXJuCeYLEHYATuExmY1gDcp3jc/4mTR0Zi8qTGGDuqNsaOqoWJYx2xeF5jnD/ZPZXf3joCsBr47a3dgOhOgOCMb60D942AqHpApKNOVSNpcvSAtPS2Fx7ypLn5FgjLDYSRHoeA/KdA6MdA6AdA6HtA6Lt6Yp5lH+te+DkQYMmBW2454e+ZG0HXv8WlY98g/C7BewaqLa3R5QiKHp0uhzKRLieKdDkE7slz3wngGqy9EXS7CwK8uyPi3kDEhAzHyUMd8fDuaCRZyXM/C4gzAverUoH7+G2Ij96GBOseJMcf1t5qIHDPhyXUvbCBGbjPA0+XHggPHgZryEjEhY8WNqVtaWPaGjFpk+VyLzi1LKI87v/Ji1jN/ZdqQAH3mVSnAu4zqUDVXWkgi2tAAfdZw8D09rlz547guf/qq6/w7rvvCm960r4QuCewHx0dLQLU0ltcBi3Pnz+/CGTr7+8vAtllDW08eRXU18OHDzF48GAByJO7vnXr1mBcANLn8Lqgzuh57+npKbzyCe4TvB89erSo583av+mjgPuMATQFMCr9qD2g9sA/sQf43aw+SgNKA3+vBp4euC8Kl7Od9SCpY8Qx2ToGIkWPgS1qFBIjRyEubCSsj4YjLGgIfCx9DMD9SCDpBmAzAvcXNI97AdwfBhL2Awm7gfhtQPxGIP5P/DqhKYoWzglHh0Ko41gQjeoXQfMmRTFjsgNCg4aLOW2RwxAfPgDx4X2QHN0LyVFdER/aHnEhTkgMb6mD4g0Fp3ximAPiHlVF/KOKSA4nTU4pIKIYksKKIv7h94i9/x1sj/IgWVDkfI7k0M+Q+OAjxN17H/H330HSo7eA0DdFSnz4FuLuvYP4++8j6dFHAry/7pwNzsez4/LpnHA9+RXmTcuOO14FkBT6ExJDSsEWSrqcSkgKr4b4kJqIfVgbCaENkBxJupxWsEW0EbLHh3VGQngPnDzYGMf2NcNtr+645zcAA3qXgcvZXogLZ6yBWUiKmYO4iHmIjViExOjlSI77U9fdNiBhl65TAvekyiFwz+C0BuA+6YbB457AfXeEBw+BNWS4sGVixChh22TraGFrxGi2l0fL5R5wallYAfd/72WrZvsfakAB95lUrgLuM6lA1V1pIItrQAH3WcfA5GU/cuQISpQogTfffFPQ5ezcuVMEpyUITe/xsLAwWCwWQQlDTvePPvoIbdq0AfnwGeDu3wIAcN+TJqdWrVr45JNPUKhQIfGGQkhIiAjiy4cc1BlBfFIJyTcU6J2/fv168TAkq+hK3nw+6fhPAFJqTgWEqj2g9oDaA6l74Enf07I+6/yzUStRGngxNSCvNX4/ZUyVUwQuZztqXOtW8q2PQrKVaTSSownujkBixAjEhQ2H9dEwhAUNgo+lF6pVzq173I8EbBK4dwdsLoCNwP1pIIEe94eAhH062KwD93F/YubUlhg8oDoSo8nlPleA1ds3tsPUSTVx8WQX3PcbgMDbveF3vSvu+XZBfFh33PNpA/9rzeDr1QiBNxsgPJDAeEOEBTgg4EZl+HqWg7+lNB75lkLCoxKIf/gjQvwKwu9qXvh45EaAJReiAnIiKSQHYoM/wV3P9+Dj/jZ83f+Lh95vIOnha4gLfg3B11+Hn8d/4ev+NoIs78P28BNEB2RHxJ0vcO/ml3A9+SXmTfsMvlfy46FPEQRc/xHWe2WQGPIz7t+uCD+vn3H7ahX4WWoiIrABEsNb4L5vU3hfaYIA79a459MeKxdXx8olteB8uj1uXukBh+rfYscmJ4QEjUNs2FQE+U6E381J8Lk2GXdvzUTY/SUacJ+wVdcldcqHIjpwT50L3fOtBz5EMQL3X8PTpSvCgwfDGjJU2JI2pW01W2t21/j2mR8Ny+VucGpZSAH3L+blraR6Dg0o4P45lGbsooB7ozZUXmlAacCsAQXcmzXy8p6T2uXq1asglcunn34qONunTZsmAHsJ3EdERAjP/AMHDgiudnrm//DDD5g+fboA9XnzkdU/XKOvry9mzJghPOjJ9V+zZk1s2rRJBJyllz0fcjD5+fmJmAB8i4H89q1atYKbm5vgen/Z9SRvOnk0AmPUjzHxgY5KSgdqD6g9oPbAi7MHjN/RzBu/w43f7S/775SSX2ngRdWAvM6eDrjvAMSQlmaEOCZbCegOR3L0cNiihiMxYhjiwobA+miwDtz3tAPcewKJZuD+WFrgPn5risf9zGmPA/f7dnbCnBm1cXRfW/y5ogF6dvsJv40rj7NHm+G6e2tUr/IFpk0qjvmzSmL00IIYPTQ/Yh7WxYhBeTFiUB6sWvQ9FszMiy7ts+Gac2FcOJofM3/NgbHDPsGmldnR0eldbFj+EUJ8suHM/vfRv8frWD73dQzu/X8YPfgVPLj5Ck7ueQVTx72C+dNexaRRr6Jerddw78ZHcDn+EY7t/hTnD+eA68lcAri/cPQbTBmXA2OH50TMvTK4c600hg34CpPGfIel84pg+MC8mDPtB9y5Vh/zZ5ZAq2bfYOXiSji4qy7GjyqN8aPKYev6hjh/oj3KlsmFmVMccfPqEJw41BONG/yAtSs7YPnidujZvQomjG1iAO536g9DJHB/Gkg8rwP3tIGnDtyP1znuCdx3RnjwQGFD2pI2pW1pY9pa2D9lDwyH5XIXBdy/qBe3kuu5NKCA++dSW2onBdyn6kLllAaUBh7XgALuH9fJy1pCUCU4OFjQv+TJk0cEXG3Xrp3gaDcGWiVFDOlfBg4cCLaj133dunVx9uxZQafDm5Gs/CEwf+LECdSpUwcffPABvv32W6Ezd3d38fCC1wT1xSPjBvTs2VNw2+fOnRsjR47E3bt3X3r10MYEe/hwYteuXZgyZQqGDx/+WBo2bBhUUjpQe0DtAbUHXrw9IL+z+bu0fPly3LhxIwXAl6BiVv89f+l/jNUCXloNyGvsycB9YbicbQdYhwExwwEC9tZhWooeClvkUCRGDEFc2GBYHw1EWFB/+Fi6pwXuBVUOwWJ3INFFA5HpcZ+YHnC/Fr9ObIqiRXKijmMh1K3NVBA1quXFqGE/w+96f6xYXBdzZ1bDsf1Ncd29LQ7srItpE0vB+VRd3LraEBtXlUOX9rkR5O0AxxrZMKjPV7h8tiRueZSE84kiiAj4CQtnfYn+PT+G14U8uGvJjU0rs2HTyo9weMeH2L72XQzo8TrOHXgDHqdew9WzryDk9v+PtYv+P0z55RXs3/QqLBf+izP730Zs8Ee4eOQjHNj6MU4fyA6XE7kwfeKn6N3lI8yfkQteFwvDFloG1nvlceV8KVxzKQ9v90o4sL0MunXMA09nR8yc/BO6dyoAX6+WuOfbAWuX1cT6lbXhcbEjbnn2hGPNvNi3vR3C74/Hg7vjcfbEAPh7/wrfG5MxYqgjevesoT/0oMe9BO4PaVQ5CXaAe0GVI4EB985CAAAgAElEQVT73PB06YTw4P7ChrQlbWqLGqrbeZhmfwHga3mLW2c4tSyoPO5f2m8AJbhZAwq4N2vkGc8VcP+MClPNlQb+ZRpQwH3WMThvIkjxsmjRIpQsWVKA0qR2OXTokPAkl173pMsJDAzExo0b4eDgIILZEryeNGmSAKUJ6GbVDx9uXL9+HXwTIVeuXCJALwH8tWvXCp2QbkjS5DCQL6mGJE1O+fLlsXTpUgHuv8z6kTeb1AXXO378eJQrVw5f5/kaefPlQb7vv1FJ6UDtAbUH1B54KfbAt8j3/bdwqFUTq1evxr1798RDWemBL7/vX+bfLCW70sCLqAF5bT0ZuC8El7NtAeuQlJRsHQKRognuEuQdjLgwemsPQFhQX/hYuqJa5a/sU+UI4F6nyknDcb/LwHG/FlMmNUPVyvkxZqQjxo6uhbGja2Lab444sKsdwoNHYOWSutixqRF8LZ3ha+mAdSuq49i+OggLYKDXNjh/rAb6dP8G3u7VsfD3wpg/swDW/PE9Fv2eF+uW50XgjR8wdngO1Kn5DvZtzoV9mz/HivmfYPWiD3F4+4dwO/kBFkx/E6sWvoGF01/FpuWvINjyCpyPvoK1i/+D5fNexZLfX8fCGW/i/s2PcO4ggftPBHB/7lBOtGv1PmpWeQfLF3yF6KDiSAori6ig8ti1sQhWLiqE9St+xKrFP6FZw5xwP1cLc6cXx/BBRZEc1QWw9sKerfVwYGdj3LnRE0E+/dCwXn5cONkDiVGTccd7DDaubY9li9tg64YeaOdUFp07VjYA9+S4J1UOaYhIR0TgXlLl2PO4J3DfAeHBfYUNacvEiEHCtsnRQ8BktD/zFrdOCrh/ES9sJdNza0AB98+tOq2jAu4zqUDVXWkgi2tAAfdZy8AEY8lz37BhQ8HdTo96euXRE096ktPjnFzu9DAfMmQIGKD2/fffR+XKlXH06FEBTPOGJCt+CFRv374d9erVw2uvvYYvv/xSBJu9dOmS0ImRJoeBfQlqf/jhh3jnnXfAtxeon7i4uJdaNfJmk3uF1En0tv/hh6L48NO38U2Rj1HSIRdKOX5pSF+hlCOTsUzm0yuX9Tym18Y8bkbtnnY82c489pPKZb08Po8sxj7GPMc0nz9pHlkv+9rrzzJjuTFv7p/RubFO5s1jy/KnPaYnC/sb69LLm+cxtjPXPemcfZ+m/9O0yUh+oxxPO6exjzGfkSzGOmPeLNvTjifbpSezudw8p7G/zPP4NO3MYz9N/6dpYx7XKEt6+aeV2Ti/MW+e01hnzBvnz6jc2C79fAmHL1G4Qg58ne9zdO7SEYcPHxbxWYz0OfI7/6X+4VLCKw28YBqQ19WTgfuCcDnrBMQMBqyDgJhBSLYORnI0E8FdgrwDERc2ANZH/RAW1Bs+ls6oVvlLlCj+PWbNNHLce+ge90aOexmclmBzOhz3sRrHPWKnAbG/IvzeSKxcUg/7tjfFnZtd4X+9IzasroHdW2ri0Z1WQHRbnDlcHV07fI2b7tXhdrYidm8qhlmTv0PXDjlQz/EjXDr+PUYNzoFK5d/CopnZsfj3bJgy7iMsn/chzhz4GD7uH+HU3ncwb+ob6NL2VQzo+R+c3PMf3HT+D84eeBVL57yG3l1eQ8smr+P0vg9wZKcE7nPgzIGcaFzvXQzq/SlmT8mJY3sKwBpcGkd2FcGYobkxuG9uTBydD5PGFECTBl8I4J5UOaOH/oDk6K7pAPcFBHAf+WACThzqge6dy2FQ/+qY9lsT1HEsgvZtKupUOTI4rZHjXgL3MjitmSrnK3i68IFIb2FD2pI2pW1pY9obIg3S98BgWNw6wKnl98rj/gW7rpU4z68BBdw/v+5ETwXcZ1KBqrvSQBbXgALus5aBeSNB/vahQ4cib968IId9sWLFBB0KaXQkBQwBbHrd00Ovdu3aApgmZc6IESMEPUx8fHzWUgwgeNoZmHfUqFFgYN7XX38d9evXx+bNm+Hv75+GJocPNsh5X61aNfznP/8RlELkxKduX+aP+UaTDyFOnz6N1q1b4acK36L5oB8w60g9zD/bGAvONzElYxnzxnPZ9mnL7fXlGOb+xnbGvJzPXh9znfHcXt48p7GNcc708sb2zD9Nu/TmTK88ozkyqsuMLPbWYhxPzpuRzMb2xrzsa+9obGfMG9uy3F6dudxeG45jbmceW54b+xvzsl4eM6oztrHXjmX2ytnPWG7MyzHl0ViXXl62leMa2xnrjPn02rA8ozo5hrGNMS/r5dFYZ8zLeh5Zbq/OXG6vjexvHM+YN/ZJL29ub2xnrDPm2cZeO3O5sU16eY5rrNPmmXOyEcZsqIliVXPhxxIFMXr0KPHbnpCQ8Jjn/cv826VkVxp40TRg/j/Fa45vtvKtTf7f3rNnDwoVKoT2bQjctwasAwDrQJGSowdAJlskQd5+iAult3YfhAX1hI+lI6pVzpUK3AuqHAZEZWDUp6HK+RMzp7XC4AE1tOC0aYD73x4D7kMDu+PkwUYYMfhHuJyuh/u+zbBhZXnUrJoNwd61MH5kPmxYUUQEhr16oQQa1v0Y5498j2kTc6JPt49x1ysv7t/6Bod35MDuDZ9i78aPsH3t+/A4/R4CvN6B57k3sW3165g27lXMnfwq3E68geDrb+G68zvYveEdrF3yHnatJ3D/KU4f+FwPTpsdN93y45dh5M7PBu/LP6Fd68+wdW0R3PKoCH9LVRzdUw7NG2se9/Nnkpf/RyRHEbjvjQM7GmDHpvrwdO2MgFv90KxxQRze0xGWy4Owa0sn/D6tMe7enoxg/xkYPKAmOrarpHvcm4B78VaDBO4ZGFj3uE9DlfMlPF3aIDy4l7BhXFhfYVPaVtrZaH/mLW7t4NSygALuX7QLW8nz3BpQwP1zq07rqID7TCpQdVcayOIaUMB91jMwPanJW96oUSMw8Oonn3yCQYMGwdnZWXjdk9ecntaPHj0CPc3Jj0vPfALZxYsXx4IFC0RQ1qykGd5gkZueQXhJI/TGG2/giy++wG+//QYXFxc8ePBA6IS64Y2Xq6srBgwYIIL8vvnmm2jcuDH2798PeuS/zB/qQVIo0COTN5pcO/mRGzSpjVI18mDkyppYeLYllru1wYrLbf+C1O4px/ir22VG9r9alqcd70WS+UWSRenP/rX4tHp52nbK5pnT89+vP35PL7nQGt1+q4jilb9FrdoO4qEz/9sp8P5l/rVWsr/oGnh64P57uJxtCVj7aSmmP5Kt/ZEc3U8kW1Q/JEb0RVwovbV7ISyoB3wsHdIC97YbgM0A3Nue4HEfL4H76hpwH2fwuI/5DeH3R+ke981w52Y3JEX1Q9Dtjhg64AfUqZULFcpmQ/vWebBnSwXEh9THn8uKoXWzz1Gu1PtwrP4RBvf5At6Xf4Df1SJYOCsnypd5C1Uqvol6td7C5pWfIMzvczgf+wQ1q76GKhX+T6Th/V9DoNfbuHbhLXRo9Soqlv0/VP35/9Cy8Ru4czUbzh78FAe2fobTB3LC9WRuzJuWA/6e3+PisfxYMCM3Zk3OgwPbi6JxvU9RseyHaNXsCwzo/S1q1cgO1zO1kALcR3cTwL2nsxMG9SuGnl2LwdOlO0YP/xn16xTA6qUtsGdbJxT7MReqVS2AJo2KoWKFfOjb2wG2mPVAAjnuJVWODE57BqDObdLjnra4gUULJ+jBaQncOyE8uIewYVxYbyRG9AFtK+0Ma3+kpn6wuLWFU8v8Crh/0S90Jd9Ta0AB90+tKvsNFXBvXy+qVGlAaUDTgALus+ZO8PPzEzzu33//vQCpyc9O7/qAgADhdU8Amlz39DTfsGGDoNZ5++23BS2Mo6OjAHLJlZsVPnyQQb762bNno1KlSiIYb7Zs2QQYv2/fPuFFHxoaKkB5AvcEshcuXAjGByBFDul0Zs2aBW9vb+HB+LLqxHyTSb0Q2OGa+aBizC+jUbJ8EdRqWxjTdzfHKtfOWHulm0pKB2oPqD2g9sALvAfWeHTFzL0t0bhHSZT+uSg6deoEvl3G/3f8npe0OfI34GX9DVNyKw28SBqQ19OTqXIKwOVsc8DaB4juI47J1j5Iju6L5Kg+sEUS5O2NuFB6a/dAWFBX+FjaoVrlnLrH/SjAdhOwWXSPe4LHF4HEM0DCCSBBUuXsBhK2A/GbgPh1uH19OrzcJyA5dhEQNw+I/R2InQ7ETkZi1Hjcudkf9/36ISaEbwIMQHxYT1hcm+Pskbo4tq+mAMND7jREcmQjBN6sCeeT5XFsT3GcOfgTrrkUh/VeKcQ/LA5/r4I4ticPTuz9CucO5ULg9S9hC/kS4f45cHr/xzix5wOc3Ps+vM6/j8QHH8Aa+AFcjr+H47vfx8m9H+DS0Y8Rf/9zhPrmxINbXyHE9xuE38kH3yv5EHP/B0QGFIO/VzHcvFwCIf4VcOFYKRzfVxoXj1fElQvVcOF4NYQHNoOvVxNcv9wUsHYXwH3Ug1646twebuc7IuL+MNy42g/nTnSH/81RuOc/AccO9MXJI4Nw7uQInD4+Cp6XpyI5bqNGNySA+/26bo9ruqbO0wD3Nw3AfS54OrdGeHBXYUPaMjG8N2xRvTU7R/fV7M89IFJfWNycFHD/Il3QSpZMa0AB95lUoQLuM6lA1V1pIItrQAH3WdPApEAhH3vr1q0Fl/tnn32Gfv36CVoUetvzVV4eHz58KKhxCGqXKFFCUOvkyJEDTZo0EcFrSanDm5KX9UPZCdqTDqd69eri7QPy+ZctW1aA8/yNlN721AnT+fPnBfDB4LUE+EmnQzqZrOBtzxtNeZNJQIeUSHzDgK91b9myBS1bN0OBn75E32kOWHS8EzZ69sVGz34qKR2oPaD2gNoDL/AeWOPaCyMWN0DN5j+hTPmS+OOPP+Dj4yMe1Cvw/mX9B6PkfpE18PTAfX64nG0mwGQGTUV0LyRHE9DtjeSoXrBF9kRieE/EhfaA9WE3hAV1ho+ljQm499aB+ysaeJxI4P4skEjg/giQcABI2APEE7jfDMSvB+JXA3HLgbglQNx8IHY2EDsDiJ0CxEwEYsYC1pGAdahO4UNQuQcQ3QWI7gBEOwFRLYCoJkBUAyCqDhDpAERWBSJ/BiLKARGlgIhiQHhRILwQEJ4fCP8WCP8aCPsSCPsCCMsOhGUDwj4FQvXEfNhneh3bsO3Xel+OwbGKamOLOcppc4q5HTRZhEyUrYUmq5CZgWl76OA4aYmGAjEjgZhftDXHTtYfXszWdCJ0s1zTldAZH3psBxL4EITA/RFNx0LXBO7dABttwIcoZuC+JcKDusD6qLuwJW1K2ybr9qbdhf25B6y9YXFrBaeW+ZTH/Yt8kSvZnkkDCrh/JnU93lgB94/rRJUoDSgNpGpAAfepushqOXrT03M8d+7cIN0LPch5bva6J2h78eJFEaS1QIECwss8Z86caNWqFU6dOoWXFbznTRXfKjh27BiaNWsmQPu33noLhQsXxuDBg8UDC66dbXgdMPEtg7lz56J06dL44IMPxB/q+fPni/KX+QEG97b5JtMI3POhxNWrV/H777NQuGhB1Gz2E8avaoH1bgOx/dowbL823HCUeVnOc5lYZiyXeXvlskwe7Y0r+5vr0iuXcpjb2zuXbY3zy3byaJ7HXh/Z33hMr529clnGoxxDlsn57ZXLOtlPHu2Vm+vMbeyds8xeuZRNHu21M88nz+31Sa+/7CNlkEdzuRzTXrkcWx5lW3vn6fW31ycjWYxjZ9TO3rhSBnm011+OL+vkuXE8Y97Yzl65LOPR3liy/5Papddf9jOOLfPGY3rt7JXLMh7lGLKM5+mVyzpZL4/2ys115jb2zllmr5xjGZO9dub55LnsZ+xjzGvttlmGYemJnug5oRaKVyiABg3q48CBA+LBNN+s4vc9f8OY5G9BVvvPo9ajNPB3akBeR9IZgteZXY57JwL39ATvqQPjPZAcTUC3J5KjesAW0R2J4QR7u8H6sCvCAjvBx+KUFrhPInB/TQeN3YDESzpwfxJIOAokHNSB+x1A/BYgfgMQv8YA3C8AYucAsTN14H4SEDMOsI4CrMO0gKnWvkA0ZewKRHcUAWoR1QqIagpENQSi6gJRtYDI6kBEZSCyAhBRBogoAYT/CEQUAcK/B8LzaQB8WB4dkM+pA/ifA2E5DOkLIJx1XwLheXTQnn0L6mP9BESU1OYQc3HO6kBkLV2WhkA0ZWsJRLfRZabsXAM93BkIeBgQM0p7SMGHFXxoIR5eELhfAMTzocYKTVcCuOdDDwL3e7SHIYkE7k/qur6UFrhP8saihRNRskRRVK+SE57OzREe1AnWR12FLWlTW2R3JEdr9hZyRfOhAlNPWNxawqnldwq4/zsvWjXX/1QDCrjPpHoVcJ9JBaruSgNZXAMKuM+6BpZc7R06dEihh+ncubPwKJdANb3uGYiVgWpJl9K9e3d88803gu+e4H3v3r0FBzyBXd6kvCwfykoKmHPnzgmuenrZv/rqq4L2pmvXrgLMJ0jPtcs3EPj2Ab3tmzZtiuzZs4NvKbRo0QI3btwA32B42T/mm0wjcM83Dbj+M2fOoE2bNihQ+Fu0HVgNiw/1we7rY7HnxjiVlA7UHlB7QO2BF3gP7LCMwezt3dCoYzl8nO0DjB37C9zd3YXXvZHvXv4WvEy/6S/776+SP+tpQF5HTwbu88HlTGPA2g2IJo0LwdxuWorqBltkNySGd0FcaGdYH3VCWFAH+Hi1QrXKX6BE8YKYNXM0YJPA/VUdPCZwfw5IIKgsgfu9QIIRuF8LxK/QPe6NwP1UIPZXIGY8YB0NxAwHYgbpHPx8I4BydgKi2wHRrYGo5kBUYyCqHhBVG4isqXvdVwIiygMRpYGI4hp4H17YAN7n1QB5etKHfaWD+LmAMJlYlltvw7b0tC8IhPMBAB8EFNfHpmf/z/qcnLu2LksjTTbKKGSlzOS3p0d7fyBmsL42rnGctuZYrp0PL/gQYyEQ9wcQvxKIp674sGMLkLATSKAuDwKJx4DEU5qubc6A7TJgow34EMUM3DdDeHBHWB92ErakTWnb5CjN1pps3fU90A0Wt+ZwaplXAfdZ76vhX7siBdxn0vQKuM+kAlV3pYEsrgEF3GddA/NmgjQxmzZtQtGiRUFvc3LeMxgt+doJWNP+9KhnoFqC9ydOnEDbtm0FcP1///d/+PjjjzF8+HDhkU9w92X5EGi/cOGCCMpLjvpXXnlF8PcTlN6+fbt464CgPddOHVAX165dw5QpU5AvXz6Q759xAVasWCF44LMCwGG+yTQD99QFqRW4XypV/hkVavyAQdOaYseVCThwawoO3JqsH+3ljXWsl8lYzrw8l0dzu4zKjXXGvFEelhvrMsrLOnk0yyLP5TG9dhmVG+syymdUZ5xftpNHYx3z6ZXLdvKYXjuWG+syyss6ebQ3NutkvTya22VUbqwz5uUYPLLcWJdRXtbJoxxHnsujudx8nl47lhvrMsob6+T4PBrLmZfn8ijbynN5tFdurDPmjfOw3FiXUV7WyaN5Tnkuj+m1y6jcWJdRPqM64/yynTwa65hPr1y2k8f02rHcWJdRXtbJo72xWSfr5dHcLp1y78nY4voLJi3viMIl8qBCxbJYtmyp+B9AWjR+5yu++5flX4yS80XXgPk/Vfoe99/B5Qy9w7sCVtLQdEFydFckR3UVR1tkZySGd9aA+4cdERbYDj5eLdIC90m3ANt1wOYJ2NyBRILI5zVQOeEYkHAISNgHxO8E4rcC8RuB+D+BOILSS4G4hUCs5LmfBsT8BsROAGLGANYRgHUIEEOuexNdThQ92VumpcuRXveRVYCIikBEWZ0yR4L3RYAIAvD5gbDvgPC8QNg3AD3wSaEjaHQI5n+je+azTX69jxG0Jw0Px64IROre9mLuOjp1TxMgmlQ+TkB0eyC6s85v30dfC9ek0+TEjtfXPA2InaXpIm6RrptVmq6Ezqg7CdxTpwTuTwOJ1DV17q7b4DqQdAuLFk7SPe6/gKdzE4QHtYP1YUfEhXYSNrVFdEZyVBdha2F/QUPEPdAVFremCrh/0S9yJd8zaUAB98+krscbK+D+cZ2oEqUBpYFUDSjgPlUXWTFHr3uC9AMHDsR3330n6F+KFSsmAGoJ3stAtfS49vX1xdq1awXH/UcffYT//Oc/oh897/fv3y881F9kPRGUIPXNzp070bFjRyH7f//7X9Djnrz9a9asEQA9H1SwHdfOa+DmzZtYtmwZypQpI3j++dbBoEGD4Onp+SIv95ll442m9A4zA/d8eEG+fz7AGD16NMpXKo3aLcpg1sbeOOQ9C0d9fscxn9kiHfWZDS3N0Y88N+Zl/eNHjpHa35i33/+YaVzzeepY6fU3y2yc037ePMezy2x/3FRZZX2qzMY5H9ezbJ/+0dj/8XmM/VLnNLZLf43Gvmnzxj5pZbY/h3E+5p9V5rRzPEv/VLmNMqeVx77M5vZPL7M2p1nmtNeJ/TnTypXR/rXf/6+XOVV/ZtnkuVkvZhlku7TrTx03/fapbbQxUtdsnPNxPRv7pfZJlcPe/rHfLvMyp8qSvszmuc3n2hjG/sa1yDy/qzecHYdeYxrhx5IF0K59W+zZs0fEb5GUOfydlKAjj+qjNKA08OwakNeQ/E+VPnCfFy5nGmjAMsHl6E5IFomgbmfYIjsiMZxgbwdYH7ZHWFAb+Hg1Q7XKn+vBaUcDSbcB2w3A5gUkErh3ARIvaKBywvHUALXxu4H4bVqA2rh1QBxB6WVA3GIDz70WoDaF515QyUi6nH6ax7rR617Q5TTTve7rG7zuq2mUORGkzDGA9xH0lpec96TOKaDT5+ggPoH8cOZJi0Mve7bRPe1FX3raS9C+gg7aV9P49enxH0UZ+AYA3wSgt31bjSaHFD/C2540OZLf3kiTI/ntGaR3HkDgPo66oY7W6UF9qbtdOr89g/4yMK0E7l304MBe2kOUpNsm4L4RwoPaCBvSlrQpbZscRXtrdtfeZOCbAZ1hcW0Cp5bfKo/7Z7/0VI8XVAMKuM+kYRRwn0kFqu5KA1lcAwq4z9oG5g0FPeXJdctAtV988YUA7+lNvnLlSuFhzXoC2KGhocIz78qVKwLEJtD96aefgsA3QX8C4QxgSi9+3qC8aB962d++fRurVq0SID097ek5z2Pjxo3Fej08PARfPddKoJp0Onfu3MG6devQoEEDAdp//vnnaN++vQA7qJes9DHeaBqBe+pB7gFSCBHocWrTGuWrFEenwfWww2Uqjt9eiNN+S0Q65bcYp/yW2EksN9bJc+2Ytr+xzjhWarlszyPHTXsu+7C9zGvtNBmedk45nzZG2jlS5zSOmXaNaec8bZAz/T7255TtpQzyPPUo1yn7p12j1FOqPlhv7CPzmZE57ZxStlSZzXPI8yfJbKw39pF5be+lrvFpbGMc82nacy72kXOm7SPXaJRBrt/YJ7Usbf+0Y6fOkbbcvszcV8ZxU+eTMqfWSznZXuY1mZ9tzrTzpdWLUea0cxjnTJXJ2F6TPW2dHCOzc6bfP62e5HyaXoxrkzqS7c3nqXLLMdKfM7Ut28j2ck55/rgt7c8p28v+aeeVfRbj6M35WH14LOq1rIifq5TFiBEjcP36dUH5xt9u5XWflX7V1Vr+KQ0Y/0/xmsoYuK+nc7CTO74jkqM7IDlKS7ZIgrztERdCb+22CAtygo9XU1SrnEMH7scAST4iGKoWFNUDSHQFRIDaM2kD1MabAtTGpcdzb6DLodc96XKsgzWKGWtvgFzsaYLU0uveyHXvmEqZE0HKHCN4XwKI+AkI/0GnvSF9DoPNEpwnSK8D9RGFgAjW0cueQD857dnXANpzbBGQtiYQ5ahT5JBv38htb/K2J02OWAspgHSanJhJOr+9TpNDfnsZmJY6MvLb8+GHCPZr5LdnMGBXA3B/Q9gk1eP+c3g6N0R4kJOwYVxoO2FT2lbaWQv4y6C/WrK4NoJTy28UcP9PXcBq3r9cAwq4z6RKFXCfSQWq7koDWVwDCrjP4gYGhIc1PamXL18OBwcH4X3+3nvvCXCbnukM0Mp9QCCb9DE8p6f5+vXr0bx5c3z77bdg+6+++krwv7OcIADbS8+9f1KLlIHyU+bFixejUqVKghaH1EB84EDqn40bN8JisYi1SV579iGAT5C6Xbt2gtOenvmNGjXC5s2bRVs++MhKH3s3mnzgERMTI3TItxD45gV5/efMmYN6DWqjUq0S+H3tQBzyXIhz/qtw4e5qlZQO1B5Qe0DtgRd0D5y/swqnfZZj4vyeqFanLOrUq43Vq1cLSjy+hacoc7LSr7payz+lAXv/p+wHp/0WLmfq6HQuBJnbIzmKqZ1ItgiCvG0RF0JvbSeEBbaCj1cTE3Dva+C5v2LguT+rBU8VdDkMUEtudkmXQ872tRpdTpyky5kLxNLjXHrdky7nF41SxjpU91Snx7qR654e7ZLrvolOU1NHCxIbWcPAdy/Be3LeM6hsMR3Apwf+D7oXPgH6olpelLGOgD297NmHfclpT3ocCdpzDoL2DI5L0J4yNNdkSuG2p7e9DEorve11mpwYrpHUQDpNTtxcjTqI/PaCSsjIb79DD0xLfvujqfz2DAZsczPw298EknyxaOGvOlUOgfv6CA9qJWwYF9pG2JS2lXbW6Hw0+5OT3+LaAE4t8yjg/p+6gNW8f7kGFHCfSZUq4D6TClTdlQayuAYUcJ/FDawvjwA0aXBmzJiBIkWK4LXXXkO2bNlEMNojR44I2hjuBcl3T69rtmew0n79+qFw4cJ45513RJDb0qVL49dffxV19L7njcrfDXDzholz0sOJMjAILWUi1c3rr7+ON998U3DV9+zZEwcPHoSfn5/wtJe89vQuZ2JAXgarzZUrlwD7K1SoIEB+8v3/3Wv6O3ai+UbT6HXPNy+k/fnwhjECRo0ahZKlf0Lzjg7YcHQ6zvqshUvgJrgGMW3Wk53zQG49xUEAACAASURBVFm3Ga5sL/qYylL6s9w0nnkO83ma9nIO0/jmOdP0sSezoYzym/ubz83j2ZXRtC7jmtk+jZ7szGmew3xunPNpZE4zp7SLWUbzeQZ6tTenXRnlGOnNKevt6EDIbJBJ6MxwLuYzn5vGE3oylRltkaHMUqYnzGEc73lkTrMXpJ6eVWaDjGLNhvM0a9TX9KQ50/ThWKbxjHPY2wtmvWfUX+jPzhyP6dWoE2kbQ5l5DvP5s8rM9il6knYx6cE8x2MyG9rb05O5fxq9pTenYc1p2kvbbsJBjyXoPaIVylcqJYKOu7i4iIfV9vju/47fHzWH0kBW0oD5/1T6HvffwOVMbZ3ShSB4WyRHpSZbRBskhjkhLqQ1rA9bISywBXy8GqFa5ex6cNpfgCQ/wHYLSGJQVAZHZZBUZ417PYHBU8nFLnnuSfVi4LmPX6VRwsTqdDlxs4HYGZoHOj3RGbhVeKYbve7tcd23AqJJT9MEiGwARJFrvhZA8D6iqkZpIwD38kCkpM4hGM9E/nuC8wTziwHhPPJcetiX1vsw2K3OaS/GrKF72tfV5yRFDml7WgFR1CW917sA1h6AeFNA97YXAXdlUFrpbT8DEGufDwhdLAOoG8YCIL99gqTJ2afrkrEDqFvJb68Hpk1irAHawg+LFv6mA/c54HmpHsKDWggb0paJ4U6gbaWtNUofzf7MW1zrw6mFAu6z0nfCv30tCrjP5A5QwH0mFai6Kw1kcQ0o4D6LG9iwPN5UXL16VQDcpI954403kD9/fvEaPelxuBcIZtPrmhzwBO/9/f0FgDthwgSULVtWUM+QOid79uyoW7cuZs2aBWdnZwH4EgTmjczf8eFa6C1PPvbZs2ejTp06ghKHXvZMpUqVwsSJE0WwXT6A4FqMoD3fFiCY36dPn5Q3CkqUKIElS5aIIL1cS1b92LvZJJBj9ron7RDfrmjWvCm+yfslJs7pj0PuK+AevBMe93fB4/5u/ci8TOYy4znz9s7NZXIse3MY28p2xjLmzeeynb3x7JWZ+xvPZXtjmTEv63mUyVxvbsN6YxtjPr0xzG2M58wbz+V8xjJjXtbLueR5Rm1YZ6w35uU45rKMzllnr95YZsxLGeVc8phRG9YZ6435p+n/NHM+aY5nndPeePbKpPz2ZHzSnM863pPmMI8n2xvlMOZlPY8ymevNbcxzPKm9ub/53DyerDeOa8zLeh5lSm+M9OrN46U3puxvrk9vvtRxXe5uw/Idv6FFhzoo+kMR/P777yLmDb/rzV73WfX3Tq1LaeB/pQF7/6Xsety3zgOX07WAaCedk701kqOctBRJcLcVEsNaIS6E3totEBbYFD6eDUzAvb/Oc28IUGtLh+c+gTz324H4zToFzGogfjlAD/NYBqmdowdo1YPUCo903es+Rnrd61z31m46Nz8BchmoVvLdS/Be0uZUBxiwVnjKE3wnCE/veYL4ZXRvetLgMNGznmWsYxu2JZ/9z/oY5LSX9Dj0tOdcjTSKHAbLpS5FQNpOAGUU3PaUeSDANcigtDEMSvsrEEtqIDs0OfHUzXpdV9sB6i5hvxYzIJH89qQiugBQ1yIwLfntSZNzG0jy14H7H1C9CoH7OggPagbrgxbClrSpLaI1kiM1W2sy880F8vI7weJaF04tvlYe9/+rC1SN+7drQAH3mVS5Au4zqUDVXWkgi2tAAfdZ3MCG5fEmg/am193QoUORJ08eQZtDQH7q1Kng7wXBcHvgPT3vp0+fDkdHR+GdTnD8448/Ft77LVu2xMKFC3Hx4kUBehMU+F98KD9vioKCgnD27FksWLBA0ODwDYJPPvlEcPczqGy9evUwb9488UYAQXt65BuD0RLAd3d3x2+//SbeJCANEMcYN24c7t69C4LYWfljvtlMz+ueer506RJmzpyJn4r9iHrNqmPR+om4dHs7LA8Pw/LgMK49OKzlH+p5/fwaz9nm4aGUei1/SC/X+xn7P9aeczzeXs4p5rDbP+2cqbJoMlNuIb+U8YHWPrWdcc5DdmVI0z/NGu3LLOdMlTl1zsf1os3PtlLPsj/PRbkus5SDY6S0l7bR+2vtTWt+Vpkfsw3lTzsn7SJlEDZKR88ZySzrtHG0OVLWrM8n5xB7wzCH0JF+zjapY8i1Py5zGr2yr0Gvor95/5nWnKZ/io4022predyWcv+KdYk5NfmeS+aUOeUa7e8/OaeYw6CzVB1lLPNj61TXjP3vhWfcf//ra8br/kGc8tqIaYtGoHrtn1G7tiN27NghfkONXvfyNyEr/+6ptSkN/NUakNcN387MkONeAPcOQDQ91ukp3grJMkUS3G2JxDCCvc1hfdgMYYFN4ONZ3wDcjwWS7gI2HyDpJjSee50uhxQuiZIu5yiQYKbL2Wigy9GD1DIwa6zudR8zBTB63VvJCz8EsA4ArH2AaNLPdBUBdTWgnIA5+e4N4H0kgXVS2Tho3veRBN11AD+CQHxFnQOfnvjltCSBenrXizakxWEfeu7Ty55jMRCtBO3pad9Un5sytEsNSEs+fspKmYXs9rjt+YbBbCBOBqVdCsSv1HQTT0qhLTrFEKmGSJNj4Le3XQRskt/eotuAtriDRQsno2QJAvfZ4XnJEeGBTYQNaUvalLaVttbeEtD3QHQrWFzrwKlFbgXc/9UXphrvH9OAAu4zqXoF3GdSgaq70kAW14AC7rO4gU3L440Gvc1JLdOjRw/kzZtXUOYwWC091AmIkybFCN4T+GYA1/Pnz2Pp0qXo3bs3KleujNy5cwvgn5Q75cqVQ69evYQH/rZt2wTgS9Cc9CuZoZxhX8rCsUjdsnXrVgEkd+vWDZT5s88+EzIQsK9Rowb69+8vuHzd3NyEzJSdQD3fIuC6uY7Dhw9jzJgx+OmnnwT9D986GDRokHhzwKSuLHvKfSBvNuUNp+S6l7Yn1z3fSqC+unbtguKlfkLPQe2w88QyeIecVknp4Bn3wKlnbP+kPfZXj2dvvr9jDnvzqjL1HfPX7AHLvePYe2Y1Bo3ujiJFC4qH9vz9538/vrnGB7f8LZAgZJb90VMLUxr4izUgrxn5XypdqpzWX8PlNMHoFikpOaoFkqOaIzmyOWwRBHmbIS6kKawPmiAssDF8POuiWuXPUKJ4IcyaOQ5IChCc6kjyBmx26HIST2t0OQk6XU7CLiCe1C+bgPh1QNxqII5e90sABmZN1+t+FBAzDIgxBKolDU20BO8JmPPNARN4H1VPo86JJHWOEcCXIH5l3ROfAL1MLJNgPduRy559+RCANDwck5z2kh5HetrroL2RIocBaWMG6bJzDXyDYAIQa+C2jyW3vSEorfC2X6fpiDQ51FnCPoA6FNRDOk0OKYkkvz2pimiDJF9hk0ULp6BkiR914L4WwgMbCxvSlrQpbUsbMxntz7zF1VEB93/xNamG+2c1oID7TOpfAfeZVKDqrjSQxTWggPssbmA7y+NNhtVqBbntu3TpIqhiPvjgA+F9PmzYMBw6dEh4npPvnInAN4PbBgQEiKC0J0+exPz58wU3PAH7zz//XFDo8Fi0aFHUrl1bUNDwtfy9e/eCIDppV9hfAukEh+mZT68/3uwwzzLOxTbkmGcfctDv2rVLPBDggwEG16V3fI4cOQRgzzkJ4JPLnoFpKRv70VucMhtBex8fHwH8d+/eXVAEkeef3PYc9/jx4yBw/W/6GMF7o9c99wYfckhbMBDxn3/+iapVq6KGY2VMnjMS7r5H4Bfu/BTJ5SnaGMcxtzefG9s+Tf55+j9rH3N78/nTyPmsbcxzmM+fNN6ztud4z9PHKIe5v/nc2NZe/lnb/y9ktidXRmX2ZT57dRfOXNkJr4CT2HZ4GSyBpwzXif0+6V9v5vbm84zks1f3PP2ftY+5vfncnlyZLTPPYT5/0vjP2p7jPU8foxzm/uZzY1t7eRf4hTnjit9xrNu5EFUdKqKGQ3Xxthofhhu97hV4/2/69Vdr/Ss08PTAfW64nK6ue6nTU70ZkmWKJLhLkLcJ4kII+jZCWGBD+HjWNgD344HkQEHNolG03ABsnjp1i6TLIaXLCY3iJeGAHmB1h+ZJTo/yOGOQ2kUAve7TcN2TToa0MmOAmBEa3QxpZ6w6ZQ692gmUR3fUvN2jdM97yXkvaGzqA8L7np7ypM8hCE+6GwLypNGxl1hXU2srvPYJ2Esve1LjNAGimz3uaZ8GtO8HxEiKHMo+Rl8L1zRF5/PnGwYZedvLoLTU3WFNl4/R5HgC5LdP0vjtaZNFC6fqwP1n8LxUE+GBDWF90FjYkjalbZMjmTS7a28qaHmLiwOcWnylPO7/iotRjfFCaEAB95k0gwLuM6lA1V1pIItrQAH3WdzAGSyPAC0Ba/K8kzaHnPcEsjt27Ah6zZM2hp7qTBK8J1c8QfWbN28K7/w//vhDtP/+++8FdY7kmP/www8F53zx4sXh5OSEsWPHCjodAsAE4jkvKXssFgtu3Lgh8ixjHdssWrQI48ePR4sWLcAxKBcfLpBfn3OQGocAfocOHbBq1SrxBoG3t7eQjTLSW5y0P3zwwCNlXrlypeDl5xsCBO05Rt++fQWlDq8D3oT9mz72bjoJ5PAhCvUhYx3wIQjBewaqrVCxPJq2qo+Nu/6Af6g7AiOvIijSE4F6Yl6cR2hlQZFeCGJeP2c70cZ0LvsHsj3HMvY3nKf0N8+ZMh77e2n9RZlXimypc+gy/q9lNstoPqd8uoxpZZa6S9WrXLdcg9Arx9PXnXJubw5RdhW377vA4n/OMKcnfO67wtPvDG7dd0FAxBUEhF/BzaCLcL1xDG56Yp7pyu1T8H/kDsudc/B54Jqi44AIT1wLOC/6+T26DCYPn1O4E+qesjfuhl+Bd7CzqLsV7Azve87wD/VIqee67oR54PYDF7Ce7f1CLuNG4AUxX6qeUtcsdXEj8CKYUnQU4SlkuR5wAf4h7iJ53D752Jooo89DV/g+dAPbck7jGOxL3dwJ9cDt+65CZspEGT1uaeOZ9XTt7nkwUXfGOp5f8TmVMsfcPybj15mjsPPIGtRr5IBzHvuFPu+EaXpie8oVEHE1df9GeIoxbgRdxN2wK9q6fE4KPVJG6sDL/yyM1xDtZLl7TozhH3IZnv5n0shFGakH2oZjUEbvey6gHNQFbUu9XA+8IOSROv+fXefm/Ws+/1uvGcN3Wcp1+vj+E99Xupwpekk5N37/mb+bnv06T7GtPb2kzKnLaJCZ+8Xd+wQm//4LSpcrAac2ToIyh9/zRq97Bd7/m/4BqLVmVgP2/kPZ57j/Ci6nqwLRTTUgOqoJkkUioNsEtvDGSAwj2NsI1gcNERZQHz6etVCtcjbd434CkBQkqFmQpNPlJFkA2xUg0Q0QdDnngER6iEu6HHqO04Pc4HVPD3Phdf8HEEeu+7mpXPexk9NS5hC8t5IyxwDeW7sbwPv2Ouc9qV/4JoGkzqGHPPnodQ/8qNqaBz296IU3Pj3yZWIZvevZRnrYs6/0sic1TgudYoj8+vY87XVee8qaEpB2LBAzEeCaYqfpazR425PvP0Nv+6O6LqlTUhG5abqmzklVJGxwR9hEAPcl6XFP4L46wgPrCxvSlrQpbUsb097iIYQ8RjeFxbUmnFp8qYD7zF6Iqv8LowEF3GfSFAq4z6QCVXelgSyuAQXcZ3EDZ7A83nTQ/vRqJ9/7d999JzznST9Dr3ny1t+6dSsNAE6ueHrEE8wljQqBd3q5L1++HP369UPNmjWRL18+AeK/8847AmQn4M5gtgyIywcEpOchPU2hQoUE+E4vfeZZxjq2YVvpVU+g/t133xVjkhKHcwwcOBArVqwQoDtloCyUibJJPnv5tgAD2HItFSpUSJGLDxpGjhwJDw8PoQMCFv/Gj/HGk173BHEI3vOhjqTMkW9b8A2NNm3aoETJYujcoy0uXz+FwPBreGC9pdILroOAsGtYsW4+OnRpnWqr6FtYv20ZmrVuiOV/zoN3oBtuBrhi0rTRyJb9Ey19ph+zf4Iy5Uvi5MW96NS9DdZtW4qAUAseRN9CcORNDBreCxOnjsKB41tx6NR2VKxcFhevHEmZ67r/JcycPwn7j2/BgmUzMO+PaTjrdjClnnuI+2nNpkWYv2wGbtx1wfHzuzFy3CAx3/309BvljTETh+KXScNSxrof5S3WMHB4Lxw/vwdnXQ+gTLkSqWvi2j77BBUqlcHGHSuw+/AGDB3dD9fvuiA44oYY517kDZy7fAj1GznC2fOYWO/C5TNw7PwurNm0GMVKFH1sPOqsW+8O6N6noxifc2TL/qlolz1HNlSqWg43A90QHHkDV26dw4QpI1G1xs9wtZxEQKh2HXncPIOZ8ybh85zZsffYppTr6360NwLDrqNytQoYP3kEvHwu4LTLfpQtXwLn3A7i/OVDorxtxxa4F+WdoovNu1aia892oE6OX9gjbG22bdkKJTFr/q+4dPWYkGf+0umgHLQJ9UFbDB7ZB9v3/5kyrrrmX7LvvOhb4HeAi+Uk2nRsiVJlSgrKOwar55tm/O4nZZoC7v+N/wLUmp9XA8b/T5JyMH3gvooeXJVe5I2QzBSpJVt4QySGNUTcowawPqiPsIC68PF0SAPcJycFazz3SX6ax7dNBqm9DCQ6A4nnAdLlJBxP63UfT0/yLYD0uhe87kuBuMVA3HydModBWxm89TeNXiaGwPdoDQh/DLwnn7ykzSF43xag932UEcAnSE16m4ZAJIF4euLX073x6U1fV8uzTNSxTQMgmn3Yl4A9qWVIx0PP/raGQLT0+qcMvQBrXyCGXPyDTaA9KXIMAWn5ZgHXGrcIiOfaV2pvIDAobQID+JqC0lKHgnqIOiVNzmXAdlWjKJLe9kl3QZssXDANpUr+iBpVswngPiKwrrBhXEgDYVPaVtpZC66r2Z95i0t1Bdw/78Wn+r2QGlDAfSbNooD7TCpQdVcayOIaUMB9FjfwE5bHG3XuAU9PT8ydOxclS5YU4Da90UuXLi283sl7T254et1LMJwe7fRsJ/0NKWgIAJw+fVp4zNNbfsiQIWjYsCGKFSsmqHjoMU8gnt7uDGr7/vvvC355gvJvvvmmyLOMdWxDChz2IVBfokQJNG7cWHDz0sOfXvkMlss5+bo/ZZBe9lJGykmZjx49igkTJoh18S0Ajk8Anw8q6KFPgPrfCtpza5hvPCV4TzCH8QmMlDl8y4IUSfXq1cXPlcpj+doFuBVwBSHWuwiLDdBTIMJimcznstx4NLfhuaw318ly49Hcxt65sT3zGc1h7m/uK/ubx5Dtnre/cTw5lvForDfPYT439pP5ANwL98Hi5XPRuFmDFB3cj/DFxh1rULu+gwCiL3mcxIMIP7h6nsXGrauxfssq5MufF916dhL5PYe2wv/eNbRp3xKr1/8hxvS65YK+A3tg6swJOHxyN274uePAsZ0oVPh7XHQ/kbIXbvq749dp47D38FYcObUbcxZOx7BRA9LYe8uuNejYtQ0uWy7gfoQPpswYj7r1amHI8P64c/86QqLvGNprawu1BmDw8H4YMqK/WNej6Dvo1a8LfpkwDAeP74T3HQ+cuXQEHbu0w4TffhHr4tqY9h3eJuTduW8jevfvJto+jPIXc3Cc865H8XPl8nC5chqr1y/B7PlTceHyCVzzccOu/ZuxZsNS9BvYE5WrVsQGfcwzlw6L+TZsWYW1G5eheMmf0HdAT2zctgb7j2zHg0g/hMYE4MDR7Zg2axJ+nTIWC5fOxu2Aq0L+qzcuYt6iGahZqxr+WDkPltsuQp67D25gx74NqNvAETPnTsY1H1ecvnhI2Oecy1Gccz2GgUP7oGTp4li3ZTn87llEv/VbV6KlU1OExtzFsbP7MGLMYAwe1i+NHvYe2gqPaxfg7HEKPxYrimIlfsCyNQuErNTHrbtX0LNPF2zZ9ae+dzLaj3LPGY/mPfpX9DeOYZxL5o319uY31ss+xqO9PsZ6c95ee+Mc5npzf55n1N5ef3OZvfPUebjv7oX7Ys2GZWjUpAEcHGqKIO78LSfYyO9+/hZK8P4Jfx1UtdLAv14D5v9P6XPcfwmX05U0cDqS3uQEcxtoKaIBbOEEeesj/lE9xDyoi/DAOvDzrIk6DtlRskRBTJk8BnExd4EkA12OjXQ5XoDNQwucmngxNUit8Lq3x3W/HohbA8StAOLoda9T5sT+rtPJkFbmVx28J0c8ueKHmzzve+vAeTcgurNOnSO97wmyM/guPfAJvMs3DAjIS8BaW3/quQGsZx/hYS8Be3rZc2zS83TWHhiQb9/aW6fw4dsAErQ38tpL0N4YkHahvuYVQPwagKC94P83c9vT2/6krktjUFovIOkGNKoifyTbAhAfF4Dff5+EsmV+QIPaOWBxroaIwDrChnEh9YRNadvkCM3W2psIfJihvZVgcakKpxa5lMf9v/6bJOsoQAH3mbSlAu4zqUDVXWkgi2tAAfdZ3MBPuTzeuJMbfvbs2YJOhqA5gXR6wzMYLYPSEpj39/cXHvikn6FnO72xCZrT250AOuv5u0Mv/I0bN4rxSLFCOp5OnTqhVatWaNSoEWrVqiUC3JYtW1Y8IKhUqZIoY13r1q1FW/ZhX8q0adMmnDp1SlC2cA7OxTk5t5HLnsA9AXsGsl22bBkYxJZBaPlwgG8SODo6Ys6cOeJNgadUTZZuJm88eSRgI73GzJQ5BHeob9pg1KiR+PnnimjfyQnnXU7iUUQgouNDVHqBdRASGYSlKxehafNGKXY673wSq9ctw6TJ41ChYjkcPr4X98PuptRHxj1CmbKlsHDJHETGPhTlUfEh6NCpLdauX4Fzl05g9vwZGDZiME6ePYLgR/54FBGEIyf2o1CRgnC9cj5lLJ+71zFl+q84eHQ3bvpeFbIQPKRcUXGP8CgyEGvWLRNjR8Q+RNAjX4ybOBpdu3fGyjV/YP6i3+EfdDNlPLnf2HfoiEEYOnwgbt3xwszZkzFs+CDsO7QTD8Lu4mFEIC64nMYv40fh2OmDj/XnOHsObEe/Ab3gF3gD4db7ok1E7AM4Xz6DSpUrwt3zEv7cuBJzF86Ch8U5ZQzue+qvbXsnRMU/SinnmJQrJCoIdeo5YtXapWnqWL9gyRxMnjYRh47tRcPG9eDudUn0uXbLXYw5YdIvGDJsAI6f0WS+4XMVPXp3QYfObbF63XJ4+3mB9stX4DtcdDuDS5fPYtbc6WjX3glt2rWC8+WzCIu+h03b1qF1mxZi7FPnj2L2vBnYsGXtY/JQpstXL6JY8R/RoVM7sScOHtsj9OEXdAO9+/bAjj2b7fZjX5VeHh1wL/02dSJqOTqgefPm4reStGhmr/ss/cOnFqc08BdoQP5/Mv53su9xnwsup3/W6WPoZV4PyZF6iqgHWzhB3rqID6mLmAe1ER7oCH9LdbRo8gXKlC6AX8YMQWiIN5JtpMshgO8L2ExBao1e94n0GD8MSK57et3HbwXiNwLxfwJxqwyBao2UOdM1TviYSUAM+e7tgff9geg+QHRPIJrgPT3gOwHRHXSQXXrgt9Y95iWITyDfzPPOMia2IVjPPvTelx72HJNjc47ugLUnYO1jAO0lPY4E7Smz5LXnWmZpdEApAWmXaWunDoQuqBMDt33iEUDojoF+7Xnby6C0d5GUGIiIMB9MmjgSlSoWRbvWuXDDrSoighyFDeND6gib0rbJEZqtNfogzf7MW1yqwKlFTgXc/wXXohrixdCAAu4zaQcF3GdSgaq70kAW14AC7rO4gZ9yebwBIWhLXvu1a9cKXnpS1pAL/osvvhAg+6BBg7B+/XpcvnxZgLgEyQng80jwnDQ1wcHBgk+ewDoBdFLtuLu7Cw95Br2ltzwBffLSL1myRHj5E0hnYNnVq1cLgJ5tDh8+LPqQyoZjcCyOSa56zsG5CCZzboIOlIP1DIS7YcMGMMgug6nmzJlTePPTg58PBUivwwcUXK/6aBqQN5888gZUet3zBtQcqJZe93zrgQ9AypQtjQOH9+Jh6D3E26wZpBhDHfMZnXOcJ7Ux9rc379P0N4+R0fmTxnvxZY60hmLl6mVo3qKpZotEK+bOn42p036Dm7szFv+xEEuWLYLnNY8UW8UmRKNsubJYsnQhYhOiRHlcohWdOnfE2HGj8cvYUWjWvCl27t6Gh6HBwm4R0aE4ceooChcpDA9Pt5Sx7gb6YvrMqTh6/BCC7t/BgYN70bdfH1zxugz2ue7tifUb12Lhovmiz6mzx7Bk6SJs3b4ZJ88cQ7nyZeF+1RVxCdFp9k9cYjRGjByG1k4tMXf+LBQtWhiHjuxHaPgDMU54VAhcL19El26d8duUidi6fSO2bt8kju5XXPAo7D4OHNqHTp07YMXqP7Bp6zpRt3nbesxb8DsqV6kMT4sHNmxehwWL5sHr+pWU+SOiQvDn+jVo36EdqJfUayAGlIs6r1evDtauW53Sh23Cox5h1uwZmD13Fryue6BGzRo4dfa4KPf2uY7NWzdg9Z8r0dqpldBtTFwkrlrc0bBRA/Tt1xvbdmyG351bcHa9gPwF8gv7XfZwwfadW7BsxR/o2q0L/li2CNe9vURbp7atEZdgxbmLZzBm7CgMHT5Y1wN1sRHOrudx/1EQrnp5oHjxYjh+6ih+nzMT02dMxZ1AHwTe8xe22rNvp2GNcs+nXbdRBy//dW5cm8w/6bvA/D1i1tOT+st5jEd7fWS9uU7OZ5QjbRtrXKS4rpo2ayLeRNuyZYt4AG7kule/j+rfgdLAkzUg/zs9GbjPCZfTFfSgq+Ryr4PkyLpaiqgDW3htJIbVQXxIbcQ8cEREYE3cvV4N3Tp+ifJlv8Oggb1wx/8KkhJJlxOgBam13Qak132i7nVvy8jrfjsQT1oYepobA9UuBmIX6JQ5s4AYcsKTG94E3lvpeT8UsA4CrDp4T7oaEbRWAvj0wJcAPvnoCcDTa56e+K3TJoL0ooxAPdtIDnt62HMMjkXAdMoq3AAAIABJREFUvhsgvOw5V19tbsG7P1QPoquD9gysS5kZjDZGgvZzdIoc0gLpFDlcu9ABdWHwtk88qMUHkN721KXNVX+jgW82SG97UhUFwJYQhOAgC4YN7Yea1QtjUN88uH21CiKCHIQNacvEsNrCtsmRmr21wL2a/UkXZHGpBKcWXyjg/smXmmrxkmhAAfeZNJQC7jOpQNVdaSCLa0AB91ncwM+4PN6AEAw/ePAgevbsKehq3n77bRG4ljz1FStWFNzwx44dExQ5kk+efZgnmC698AmwS098PhCQiSB8Rkm2k0C9Eazn2JyDcxGslwFUSZlz4MABjB49GuXKlROc+vSyf++991CgQAERQJf1BPz5gEJ90mrA3g0o6XKMgWqpd8YT4IOWatWqoUaN6jh58gQiIsKRnGz7l6bEv2HdmZ8jJtaKNWtWo2XLFkhOTkRMjBVdu3ZFp04dERBwF7dueYu3YXbs2I6kJG0+my0R5cuXw7JlS5FoSxDrTEqyoUuXLoK+im9ddOnSWTx0u3cvGLakRFhjonH6zCkRu8LLyzNFN8HBgZg5cwZOnDiGBw/u4/6Dezhx4jjmz5+H+/fvgfOuXr0K/v6+4LxjxozG2rVr4O19A0ePHhZvyxw9egTRVgaRTt1rbMs3QPJ+lxcFC36PKlUri7Hu3w8W62B7d3c3/PjTj4ImK3uO7JBp/PhxsFi8cPjwIfG2T7bPsonvDVGfPTty586NKlWr4Pr1a9i8eTMWLV6EGzevI0mf32qNxoYN69GxYwdQL2nkSkpEbKwV9evXw/r169LUXbnijiVLFmPdurW4etVDBO5mG1/f2/D19cG27duwYeMG8f27e89uoS8PD3fMnTcXY8aMwc6dOxAQcAdul11RoEB+cLwrVz2wa9dO7D+4HwGBAWjVuhXWrfsTmzZtRNu2bYVOL166iMZNGuPDDz9I0QHXOmDgAFy+7Ipr1ywoXqI4rl69goMHD2Du3DlClqCgQPTv3w/79+9Lsw7jep8tn/n9/GzzpbXNv71vdHSkuLYaNGggfs/37Nkjfhf5lpXyuk/7u6jOlAYy0oC9/032Pe5zwuVUeSAyNVBrcqQjkiNrIznCEbbwWkgMq4X4kFqIeeCAiMDqCLxZBUP65UHF8t+ga9f28PI8D1vCPSDZ4HWfZPK6t0mu+zNA4gkgQQaq3QvE79KAakEPo1PmkO9eANqkzCEH/Jy0wWpTwHvJec+AtQTMBwNWcsszMCy97wmq0yNeD15rJa0NPeVJcUMQXoL5BOUJ6MskQXq9DfuwLwF7Kx8G9NDGTvGyH6DPLUH70UAs3wqQoD0fOOigvViLzmvPNcaTHogUOetSve0TdgIJe/U3Ew6n9banLiW3fdI17Q0HvumQdEfYICEuELe8XdG9W0fUq/M9fhuXD/6WKogMqiFsSFvSprStZudU2yOKQXlrw+L8swLuM7rAVN1LpwEF3GfSZAq4z6QCVXelgSyuAQXcZ3EDP8fyCGyTI/7KlSvCu7pp06YCxJJc9PTAr169On799VdBnUKAXtLVEEyXXvgEepkIlpPShu1kIqCfXpJt2Id9OTaBej4ckGA98ywnqH/8+HHBY1+jRg3xdgDlJHc+3xho0aKFCJxLwJlrIjChPvY1wJtQPriRXvcEcuRNKLnuqW+CPAQqi5cohilTf4Ov3y3ExluRkBSn0gusg+iYCKxavQLNWzZHQlIszp47hcZNGiFXrpwoXLgQChUqiM8+y4b5C+YiIipU2DI+MQZly5fFH0sXg3lhY1ssOnXpJGxPj++Tp46hYKGCOHr8MMIjQxAdG4kz506Lh2UenpdT9sSdQD9MnDQBR44eQvD9AMQmWOHu4YaaNWvg2g0vTJ02GZOn/grKGRkdDkdHB+TL952QK3/+fGDMjREjR8DjauqYQp7EGIwYNRx9+vYW43hZrqBa9WpYuWoZYuKiEBEdBtfLzhg+cii279wK/7s+evLFo7AHiImPwsHD+9GnT29cdnfGbd+bot7HzxtHjh1ElSqV4XXtKjZt3oCFixbAct1T6I9zU851G9aifcf2SLCl3f/0No+KiUC9+nXx57o1KXpgv+7du6Jo0SL4Tn/Y8PXXX6NChfLYuWs7bvnexNZtm8W423ZsEWWbNm3Aho3rxPqmzZiasg4Xt0sCuL/s4Qr3K27YsXMbDh05IHRLm02dPkXopU1bJ+Hxf/7SWcycNR1/LFucogPq42HIPVjjouB57YoA7t2vXhZ7YOWq5XCs7Ygrnu7o1bsn9u7fnWYdQv8v8J5X8qXdk1Ifzq6X0KNndxHrhW/R8aE3A5Er4N7+76IqVRpITwNPD9x/AZdTZYEoByDSAYgimMvkgOQIB9giHJAY5oD4kJqIeVgDEUHVEexdGZPG5EWFsl+gYYM6OHpkNxLi6XF/L2Oue+F1fw5IPGU/UG28HqhW0MWsTst3nyZYrdHzfgKQErB2JGAdBsQM0b3vDQC+4J4nhQ4BdwL5DGJLr3kmgvkE5QnoS4BeetXrbQjWC+96UuIw+KykxeEcg7Q5Yzj3SD14Lh8oMBCt7mkfS5kZaJcPIOZpHP6Cy385ELdaowkSFDnUAd9A2A0k7NeD+R4DEk4BieeAx7ztr2sBgUVgYL7xcA8x1gCcP3cIjRrWRuMG32DZ/EII8q6CqGAC9zUQH1IDiWE1hW1pY9oakbWE7bWjAywuFeDU4nPlcZ/eBabKXzoNKOA+kyZTwH0mFai6Kw1kcQ0o4D6LG/g5l0fwnsFJ6f1Obvvp06cLqpm8efPi3XffFd6rBQsWFHz4vPln0FJS4ZDahkAAwXcJtEsgn+C79MqXoH56RzNQzzEI5Pv5+YkHCpyL9DqDBw+Gg4MD8ufPL8A98vKTHoeBcWfOnCm49rkGeo4TkFaf9DWQ3k2opMv5f+2dB5hURb72v71771333nXvGnbd6Oqq6KpkiSoSFFEEs6KACBgxAGZQQBBFkggqCoKSRFCyggQlSWbIMOQ4w6RmMnHS+z1vddd0zaF7GGhApuft56nnVPpX1flV9ek+76lTxU2I3333Xdx2261mXe65C2chJT0eh3IycDg3A4ft0fpDhb1xzGudm2bLcNOY7uYJFbb5rb2b38Z589hwqPJCxdn8JS3PbUNJynPzl7QO2yZbfk4Gtu+OxcuvvYQdezbjQEYCho8cguaPPYJDx9KMkN3/w96Y/N03mDZ9AqZOn4CevbpjwKB+WLD4J8P54LE01L6pFj77/GPQz346lJOOtk+2xojRw5CUug/xSbtMue2eewazf5pu8v28dB7+cMEfwGP20VRjtz52FRrdcTvmL/oRBzITTfmbtq7DIy0exo/zZ2LIsMH4+pvR8GXsx89L5po16bm2/rQZ/rZxfXUu8zNxyngcOpbuHwc5/vZwjX26rMMHkHEoBUOGf4Iu3Tqb9d1TsxKxfPVivN2jC+b/PKfoWAtwnj5rKjq89CL2JexA1pEDJg/bHbN2Keo3qIt1sTEYO340Pv50IDZsXlVYRmpWEkaP/RKPt3nM/x1w+u3gsXSkZ6egyd13YdRXXwTKTENyWhzue+AevNn1jULuZN+kaWN8MXIo1m5caZbrGfP1CKzfvAp9+vXCI48+jB49u5k+/GBgX0yYPA47927BsphF+Pe112DlmiWmrROnjMPMOd+ZtuzYE4se73ZDrdo1cXuj20y/LFo2D4M++QDfTPyq8Bzc79PaTSvNGver1i4z/bxxyxqT//4H7sU99zbFtOkT/XbOeRr7UGFvnB2fJR3PXntv2Fuem17SOmwZtLXOjbP+cOUVV2dJyivO3lunLc+1sXG2nW6a1z43AxyTaVlJ+GBgPzS6oxH4QH7y5Mnmd5rXeL5hxeVy+NvP30r+HugjAiIQnkC4/0z878z/wJzoUL58ebRu8TfELKwFZDUKuNtRkHU7CjIboSDzduRnUOSl2NsQR3y3ISvxVvh218e4LyuicaO/oHr1SujXrycO+LYjzyyXQwE/sNZ9kVn3a4HcGCB3GZC7CMhZAOTMBXIDG9WaWfd2yZxxnvXunc1qjw4MCOB9gcOcxc4Na3sCh7sDh7v6N6091BmgiH7IFfA7Aoe4nA0Fd25iSxGfIjyFfCvmU5znbHoK+zaeeVyxnmVwNn9AsGcdpi7WadezZ1t6BtrGTXWd5XHM2wOfBTaj/QI4NjIg2o8DcqxoPw3ImRFgwzcT5vuZGXYxQN5aIG8jkLcZMIwDs+3zE5BzbD/27lmHd3q8iQb1KuClF67Ez7Nq4MDe+shOvBVHUm4zfZmb3tD0rb+f2fe3O64RYlfehJaP/FXCffivmFJKGQEJ9xF2mIT7CAHKXASinICE+yjv4AhOjzclvIGn6L19+3azPn23bt2MUH7VVVfhoosuMo4zRmvVqmWE/Y4dOxrBnJvJLlq0yKxvz9+hrVu3mrXqKbxTSOdse86mtwI9Z3MzjmkU/rmuPW1oy4cBixcvxqRJk8xGtXxQQNGBG9tyVj2Xw7ngggvANlHE79y5M6ZOnWrK4A2UBPuSDwLb5xRvKOJQzKGow4cwZNqs2cO47fYGeLfP29idsBlph+KReTQpApcYgW1x9YYrl/Hh0oorL1yaW5br9+YvLs2b1xumbTh7N971J2H91hVo0aqZ2bi1c5fX0KnLKxg4uA8SU3fi0RYP4+sJI5BxJKGQ/5pNS/D6my+jzwfvIvNIItKPJKD2jTXwyZABSD/sz5dxNNFsSjx63HCkZO5F2qH92Ju0Be1faof3+nTHopVzsXF7DJ5q1xpvvf0GurzdGV27d8ab3V43dmtilxobjhmOnyFffoQXOrTDJ0M+xOqNS7B51xp0fOUFjJ80Ctv2rCtsG9v5+BMtMPTLj7EveZsTn4jXOnXE651fKozbumcterzXBV26v4ElK+cad/+D96BV6xYgB+Peeg3v9e6BpTHzMPWHb/Bix3bYGb8RqQf945nntWz1fNStfzNWbVwMnu+gwf1ARrYvkjP2YMRXQ/BY60dBLu73gO31Ze7DXU3vwBejPzNp+3078N3MCejc9RXMWfBdID/tEvF+/3fQu39PjBz7uemXkWOHYtf+TXi3dzfcfe9deK/P26YP+g/sZdhs3b0Wi1b8hGv+XQ5LV803bSWz72dNCLQlEVN/GI+HHrkPNWtVM305f8ksvNDhWTzw0H1BDl1ewzu9umHaDxMQs2ERqlarjOWrF5i2HciOw9JV83BX00ZocvedmPTd10XO0T1fv78og+PT7bh287l+m366juHKDhcfab0s90yWHap9JauP4zMxdRfmLZqJB5vdb4T7nj17gnuW8G0qCfcl/41UThGwBEou3P8VMQtrAlkNA+42FGQ2DDgumdMWeVntkZv5Eo6lv4TDqR2RldwB61c+jX7vP4Ann2iG3r17YtvWNTh4MAH5ecmeWffbgLxYIG89kLsGcDeqpSCd8yOQM8u/LMxx4j3Xu7eb1QbE+8KZ99zclYI4hfFeQOGmtZzpHhDwD3P5HCvgcwmdl4PL6HBNerMuPYX8gJhvZuW/4Bf2TRzjKdS7Yj3L4Fr6fCjAGfZWsGedgaVx2Ba26Uif4kV7nptZ154PKgLr2pOBWSKHTMiGor2zIW3uaj9Lw9Subb/XMM/O2omtW5Zh3NfDcNNN1XHXHf/AkIHXYuf6m5ARXw8Hk+rjiK8BclJvQ176bcjPYF/7+xtZtyHoGiJ25Y0S7u2XSceoICDhPsJulHAfIUCZi0CUE5Bwf+Y72Iqg/JNfGj/25oQ39xTTuUFthw4d0KhRI3DWPde+P//8881GtlzSolKlSrj77rvx4osvmiVsOPN98ODBZsmasWPHYuLEiZg+fTp+/PFHs9QOZ/TTzzimffXVVxg+fLixoW2PHj3Qvn17M4u+atWqZr1rrrtPwZ6bznINey7dwzbRlg8Z2FY7a7C0cv8lxgpZkZsdsxTuKexQ4OEDkzq33Iw2T7XA7IVTcODwHhw4vNvjGOfGW3+4eGtfknxuGTY/7d14W549evPZePfotbc24eJp66bZ/LZMNxwunxtv7bzl2rCbbv1uHW6+YLk79q/FF2M+QfNWD6LpfXegx/udsXbLIuxOWo+evd/CHNOH1nYPEjO2oc+H3fHBx+/iwKFd8B3ahRdfehoTvx8N38Fd/nM+tBu9B3THjLkTkJi53d/3h3Zj0oyvMOCTXubIctZuXYT2rzyDJvc2QuO7G+KJZx/DhO9HY0/yhsLxkpS5HZt2LUebp1vgqwnDTP3rty1Bu/ZtsXT1jybscv70iw8wacYYbN23Ksj/0G58OvwDfPbFgEC5/vOf8N1ofDy0L2b8+C3WxP6M1k82R8M76hVxDz96L6bOHIv5y6Zj0Gd9DJfk7J2m7JSDOw2rl19/Dht2LMUPcyfg26kjsWnn8sJ6eJ7Tf/wGvfp3w4FDtl/8R7Lj+XV++2V8N2e8sdmVuB6jxn2GWQsmY1vc6kIOPMclq+fg85GDMHTEQMyaP8mUuzdlE76dNhL9Br6DKT+MNXV8PekLzF44Gdvj12DVpoXmvNZsWWTayv5cuGJGYVviUjdjzLdD8eyLbUz/rVg/D526dizCgEzuf7gJPv68rznPZ19si7VbFxe2bWfCOnw+ahB69OqMuUu+L4x3+8V/DbDjMTj+isYHx9nx8TbNMnTLsOXaPG44VH6bz6a5R6+tDfNo/V57N82bxw2Hq8e19+Zx7a3fm9/GW1sbtkdvPMNuGf58HIurNy/CW91fQ41a1fDkk09gxowZZuk5LpMj4f6X+LVVnaWdgP1v7P5nsssLFp1xT+G+OpB1K5DVwC/eZj+AgoNPo+DQmyg4OgIFx6Yi/+gM5B2ZgdzD05FzcDqy079H7IYJmPnD15g6dTJiY9cjPT0Jx46lIjc3GbnH4lCQtxvI2wHkbQnMEF8H5K4CcrlRrbtkDgXqmY54Pwmw692bzWop3nMdeCvec8Paj4AjHwJH+gcE8veBw3b2fY/A8jmugG83sLWz8Cm+U4S3Yj5n0HudTWdeCv+05Sa4nTyCPR8WsE4ujfNeYANduzQO22g3onVm2psHEnYz2m8Ca/xzXfvvg+va58zzLytkWK3ws8vjZr8bkZ8Ti5wjm3EwOxbpqZuwP34tFsyfigEf9MQjj9yDyy87Hy+/cCnmTa+ClF11kLm/Lg4l18MRX33kpNZHXnoD5Gc0QEEmHfve9j/HwK2IXVkLLR/5i2bcl/YLgdpfSEDCfSGKU/NIuD81brISgbJCwAr3//znP9GiRQvMnz+/rJz6WTtPrq2+d+9eM8OcM8C5znppFZN5g8KZ2BRyKbT37dsXrVu3NuvlXnrppeBSNeeddx7+67/+yxwvueQSsz4+xfUqVaqgdu3aqF+/vtkMksvZNGvWzKxDT/+dd95p0pincuXKZvkbzubnwwBb5m9/+9vC2fUNGjQwG2xyGR++ksyHCuRbWtmetQFZTEVe4Z43odxHYMKECahbty5uv7MBPvzsPexIWoXE7M1yYqAxoDGgMXAuj4GszdiybznGTRmOOvVq49ZbG+Djjz82v+Hc3J3/AflWnZbKKeaHUUkiEIJAyYX7vyBm4Q1AVj2AAm72vf5lZ3JmmyVvCvJTkHssCceOJOCocYnIy0lBbk4KDh1MxAFfnNmQPD4+3rz9mJWViaysNGSkxyM7cxvSU9fiQMoK+JIWw5e0EL6k+fAl/Qhf4iz4EqfDlzgNvsRJ8CV+C1/CePgSxsKXMBq+/SPg2z8cvv1D4dv/KXz7P4Fv/yD44gfAF98Pvvg+8MX3gi/+Xfji34Evvjt88V3hi38Lvvg34YvrBF/c6/DFvQpf3Cvwxb0EX1xH+OI6wBfXHr64F/1u3wvwGfc8fPusewG+OOtehG8fHW1oyzJY1suBsllHJ3+dpu5ugbawTWwb28i2ss1s+0D44j8OnBPPbTh8CV/6z9mcOxlMgC9xcoANGc30M0uaF2C4BAlxi7F961ysWP4dZs/6Gp8P7Y+2bR5BhfJX4e9/+y3ua/JHTPqqPHZtqIX0fTcjO6EODqfUxdEDdZGbWhd56XWRn1EfBRn1gcx6/v7Por++8ceurIGWj/xZwn2I75aiSicBCfcR9puE+wgBylwEopwAhc5ly5aZZUaaN2+OOXPmaGmR09znS5YsQadOnfDkk0+CM845I5yCaGkVmNluivccO5xVxI1fuSzOmDFjzHlSgL/sssuMeP/f//3f+M1vfmMcxXc6iu/cQNbrGG8d81k7lsHNZi+//HLce++96N69O7gUD8ctxXqufU/xgW3igwV9To2AK9rz4RI3K+RDp6VLl6JVq8dw/fX/xsudn8W8lZOwN3014jLXhHYZaxBHZ9NPFGa+4vJ402x+W74Nn2ydJ2Nv6yipzelo84nq9NbhDZ/I3qZbbuHsbbo3f6iwjePROrdc12/zuuXbOGtrw24ebxlu3pLkD2Xvlu8t42Tze+1DhRnnOm8dJwqHKtO1cf22HsZZ/4nsQ6W7tqHSI60zUnvbvuLO01uHN2zPy5Zlw26Zro3rtzbeuBOFbR3W3oZpZ+O8fjds89u8NhzIs+vASsxaPB7tX3sKf//HX9G5cyfzpht/N3l9t8K9Nqc9td9NWZVdAiUX7v+MmAVV/YJt9j3AkYFA7lKz9AqXvcnK3IMtscuwYtkcLF70A1as+BEpyVvhS9mOTRuXYsH86Zj70wzMn/8TNm3aiP3745CSkoy9e3dj1szv8dqrL+ChBxujaZN6aNqkLpo2uQVNm9RB0yY3o2mTmwKuNpreVQtN76qJpnfVQNO7qgdcNTS9qyqa3lUl4CqhaeOKAVcBTRuXR9PG1wfcdWja+NqA+zeaNqa7Bk0bX+24cmja+KqAuxJNG5+Ms3Ysg86WyzpsfbZ+tsW2i21kW227eQ48H54X3Q1oehfPk+fMcyeDWmjapDaaNrkxwIm86MiODOvjrsb1cHvDm1H3lhqoWaMyrv33lbjm6j+jXp2L0enlSzFzUgVsX1sDvt21kRF/Iw4m3oQjKXVw9EAd5KbVQV76LcjPqIuCzFsA4+oCmXWBLB5vQezK6mj5yCUS7svuJSTqzlzCfYRdKuE+QoAyF4EoJ8CZVuvXrzcznbluOAVRvjatz+kjwFfSGzdubDZNrVOnDh577DH06dMHP/30k5nNzBtnLk1S2j68aaHAyzHE1+25Rv2GDRvMeXHJGp7ja6+9hmeffdac8/3332+W1yEDLnlzzTXXgG96cDNZ+hl38803mzwPPPAAWrVqhXbt2uH11183ZXGJHr4Rsnnz5kKxng9AyI5t0ScyAl7hnjMwd+7ciWHDhqFK1Sq4+4HbMWxcX6zbOxs705bIiYHGgMaAxsA5PgZW7ZiJj77oidsb1zMbi/N3lA+8ub8MhXs+gOfvqCvcW0Eysl8UWYtAdBOw35MTL5VzCWIWVvZvTMr12nPmoiBvD5ISYzFl8mg0f/QBNKhfBzfeWAO1alXD3XffgaVLZmLNqvno8tYrqFmzGmrWqIaaNWugUaPb8e67PbBkyUIkJOzDurWr8X6vrri9YU2Uu/JilLvyIo+7EOWu9LoLUO5K1/0B5a503f+h3JXh3O9R7sri3Pkod+XpcsXVE6597nlYv3uu1u8y8TK7COWuuhjX/ftiVL/hEjRs8Fc8dN/f0bbV39Gt02UYNfRq/DyrInauq4akHTWRvq82svbfiENJN+KI7ybkpN6EvLSbkZ9xMwoyb0ZBRh0gsw6QdbPfZfJYB7Erb5BwH92XiDJ3dhLuI+xyCfcRApS5CEQ5Ad6s7dq1C0899ZRZl7x///5mWRfOXpYYeno6f8qUKbjpppvw61//2swct+vAP/zww+Bmr1zXfePGjfD5fEYEL23c7c0LBXSOJz74SUtLM+OID4WWL1+OBQsWYNasWWaD0/Hjx2PkyJEYOnSoeWV/0KBBxj9q1CgwjZugzp4929jQlg8DuKktX+tn2XZmfWnjdHpG05kphSztzScfxpAxefMNnGfbPYvrKlyNt/t1wJyYMdiUPAdbfHPlwjL46SywOd11nO7yQo2P013H6S7vbLT5bNRRGrmcjTaHYh/dcRsTZ+ObWYPxdPsWqH1jTfO2Gn9T+ZCdv9Fa3/7M/J6q1LJBwP73tf+d+L+JD8Hs26hcwrF8+fJo3YLC/Q1A9oPA0RFmI9mM9B2YM3siXnj+STzXri06d+qIbl1fw9tdX8MH/d/B9m0x2LN7Lb795kt06/oqutJ1eRUvvvg0nnmmLQYM6I0dOzbAl7IXi3/+Gp99/Ci6vHYV3nzlHx7395MIM2+o/G6c62ddJwp78zC/a+P6bdu9ccWFmRYq3Y1z/d72hKnz1b/j7U6Xonf3y/DpgCsw5vNymDru31g8pwK2rKqKuM3VkLyzBlL31kRmfE0cTKiFw8m1cexAbeSk1UZe+o3IT78RBZl+h8wb4XWxK6ug5SN/0oz7snG5KBNnKeE+wm6WcB8hQJmLQJQToNiampqKIUOGmM0/27RpY5ZzWbt2LXbv3g2uqcg1ruVOncEXX3yBatWq4f/9v/9X6P7jP/7DLBXDjV2bNm2Krl27mo1VueQM148nd4rUpUmctjcx7pE3NF7HMVec8+Z3y7P+KP9anvXTI1d780nhnjefXNLpww8HoP6tt+DO++pg3OwPsXLPJGxInlGMm+6k0V9cOFQ5oWxC5QsXF8rebUMoOzf9VO29ZYSqx8adqA5vurVzj9763LCbz/q9ZYYK27yhjqHyn6hObzlufm953rwMe/OECoeys3Gh8jPOpoc6hrKx+bxpNt49evN4w25e62ce119c2OZzj946XHs3Xzh/KPsTleGmn6q9t4xw7WP8ierwpocqy1ufGw6X383jrcNNOxX7UDbeOLcOb/3evAwXzbMw9mt06fM8GjauayZmzJw500zU4CQBd317d7Y9fwf4e6CPCIijMBDnAAAgAElEQVRA8QTs/1H73ym8cP8nxCysCRx8EsiZBeTvwdYty/DRoPfx+OPNsCpmLg5m7zVL5sTv24Dt21Zim3ErsG3rCuzeudosnZN7LBk7d3CGfTd0aP8MFsz/DkePJOJQ1lIk73sbuzfehu1rqmD7mqrYvrZqwM9wIM4cnfBa6w8ci4RZhpseKK8wLkR6YRrtQrWhiqdMNxwq/4nqcO1tnW6bA/7CdoUqLwSntVWwI+B2rquC3RuqYM/GqtgXWxXxW29A4vYbkLKrGlL31EBGXA1kJ9TA4aQaOJpSCzkHaiE3rRby02uhIKO2cciqBWTS1fa7LB5rIXZlZbR85I8S7ov/mim1FBGQcB9hZ0m4jxCgzEWgDBDgn06+Ot2xY0czM/z2229H+/btzfIkgwcPNqI+hX25U2PA5V6uuOKKQtHeFfDp50au559/Pq6//no8+uijRsTnbPQtW7aYpWhK8xC0Nzan41iaOZzLbWff8BpAZ2fbcwkFbj7cpm1rVL+pIt4Z9CLmrB+OmPhvsTpxopwYaAxoDGgMnMNjYFXCBIz4rhfufbQhbql3M959913zP4/70nCyRmZmppkc4F0mh78D/E3QRwREoHgC9n8tvzOcjBJeuP8jYhbWBg69COT+bDakpeje+/2uGDToPRw5HA8U+BC7aTG+GvMZ3u/VBb0cN/iTvpj70xQcO5qIvNwU/DDjG7zTozOGDRuEw4f24+jhNUhP6oP92xpj76bK2LupSsDRHyps42y6DdPO9XvD3vzesM3vluHNY8O2jdbGhr3pNsyjzWvjXBvrd/O4/hPZ2/Qq2LepMvbF+l3c5iqI31IF+7dWQeL2qkjeWRW+XVWRtvcGZMRVR/b+6jiUWB1HkqvjmK8GctNqIi+9BgroMmqiILMmUMRRwPfHxa6sKOG++K+YUksZAQn3EXaYhPsIAcpcBMoAAf755Drlq1evxsCBA3HPPfcYofnSSy81G4JeeeWVkDt1BpxVz81WvYK9Df/qV78CHQV8bsJ60UUXmRn6XGKHN9X6iMCZIuC98aRwz7XtOdue+xPUvrk67m1RHxN/7o+fd43AsvivsFxODDQGNAY0Bs7ZMbA0bgwW7vgSrV+8B1VrVECLli3M/jB8c9I7257XewqOFB6taC/h/kz94qrcaCLg/f8UXri/2D/j/tDzQO5CIH8fFsyfVqxw74r3gwf7hfscK9z/8A3eeaczhg8bhCOH9iPn8BpkpvRB8u7GSNhaGQlbKwUc/aHCNs6m2zDtXL837M3vDdv8bhnePDZs22htbNibbsM82ryVkbDFhm2ctbdhmx7Gvsh52jy2jMpI3FoZidsrI2lHZSTvrIKUnVVwYFdlpO6pgvR9VZAZXxXZ+6viUFJVHEm5Acd81ZBzoBry0m5Afnp1FNBlVAcyva5aYVzsivJo2exizbiPpotCGT8XCfcRDgAJ9xEClLkIlBECvGHjuowU7LgW+eeff46ePXuic+fOZnNQbhAqd2oM7rvvPvztb38LKdxTsOeyORT2L7zwQlx99dXmlfZOnTohJibG3FCXkSGo0zzLBNybTn7/KdpzyQSuezxmzBjc1eRO1L2jGroMbIsftw7Gwj2fY9G+4QE3DIv20dmwPXrjbZ5w8a4d/cXlc9NsuaFs3DK9+Wyae3TLteXZYzh718bNY+1s+eHyufE2r7V1y7N+b34bb21tuLh8bprNH6pOW6ZNs2HX3sbZPN7yiov3prm2No1H67fp9uiNt3lDxbs2JcnH/K6N12/D9hiuTptuj6Hy2fYwjzdfqPxuHptuj26a12/D9hjKhnGh4l0bm6e4fMzv2nj9NmyPtkw3TL8N22OoOl1bb75Q+d08Nt0e3TSv34btMZQN46wrST7m8eYLVa43jw3bY4g69w7D7NiPMWDMy7j51iq4q+md+Oijj7Bjxw4kJyebte052967Ka1E+7P8A6zqSj0B9z9U8TPuKdzfABxsDeTMAPJ3YeuWpfhoUK/AUjk/BZbK2Y34uPXYvm1FEbd712r4UrYiLzcZu3auRu/3u6FDh2ewYMF3ZhZ+zuElyPZ1Q+q+BvDtqgTfrooBR3+osI2z6TZMOxvn9bthm9/mtWE3D/1u2M1r/W66N783bOuwtjbsLcNN9/rdvOHs/XkO7K4EutQ9lZC6tzLS9lZG+r5KyIyvjKz9lXEwoQoOJ1XB0ZQqOHagKnJSqyIvrSry0+luQEHGDUBm8S525fVo2ewiCfel/kqgE7AEJNxbEqd4lHB/iuBkJgJllADFOwp3SUlJ5rXqdevWmZn4nI0vd2oMPvjgA1SqVKmIcE+x/je/+Q0uvvhi8zbDHXfcgRdffNG88TBt2jSsXLkSBw4cMDPgyuhQ1GmfYQKhbjop6HCj5CeffBK1b7kBLZ9vhNFzu2De7o/lxEBjQGNAY+AcHwOzt36IEbPfwn2t6qJytevx2muvgnvncIkc/qfgMmjZ2dnmLUs+qNVs+zP8Q6vio5ZAqP9QoTenvQgxC64Hsu8Cjg4F8jYgI30b5syegBeefyKwOW0HdOv2Kt7u9qrZnHbHtpXYu3stJgQ2p+UGtXTt2z+N5557Ap980gcJCZuQlxOHYwen4KDvWWTE10D6vopyp4FBxr6KyIiriEy6+IrI2l8R2QkVcTCxEg4lVcKR5Eo4mlIJOb7KyE2tjNy0yshPq4L89CooSK8CZFQGMqsU62JXXouWzS6UcB+1V4iyd2IS7iPscwn3EQKUuQiUYQKcgVXcJqJKK36TVctn0qRJuPHGG81yOL/+9a/xu9/9Dlw+p2LFinjggQfwxhtvYPz48eD1msKp3SiONwX6iMCZImBvOt2ZYnv27MGwYcNQs1Y13HZvdXQf0ho/bOmNOTv7yYmBxoDGgMbAOTwGZu/oi/FLu6Hzhy1w5bX/QOO77sDo0aOxd+9epKSkmNn2nJjBje/tEjmcrOHOttf/jjP1i6tyo42A/Q9l75XCLpXT/ELELCjn35j0UAcgZyYK8nYiKXETpkweheaPPoAGDergxhuro1atarj77juwbMlMrF09H13fesXE1a5dDTffVBN3N22EAR/0xMaNi5Cfux/5OetwLLMPDiU3QXZCBb/bXwHZcqfGwDJMqICDdIkVcCixAg4nVcCRZLqKOJpSEcd8FZFzoCJyUysiL7Ui8tMqIj+9EgoyKqEgvRKQEXCZzpF+Jxy74hoJ99F2USjj5yPhPsIBIOE+QoAyFwEREIEICXCTT274y7Xr//znP5v165s3b47evXvj559/NmI9//jrIwJni4B7w0nhhjecaWlpWLBgAe6//35Uqn412nVrgpELX8X07T0D7p1i/G6azc+jG0+/DdujzWPD9mjL8IbDxdt8PFq/LTuUjZvPze+1sbah4q2dPdq8Nsyj9Yeyd/OHy+eNt2F7dMsIVYc3nze/N8z8rk1xfjfNluNtg1ueN78N26Mtw4Z5tH5vuTavjQ+Xzxtvw/Zoy/GGw8XbfPbozcd4N604v5tmy+HRjaffhu3R5rVhe/TG27A9hsvHeDetOL9Ns8dwZYeLt3b26M3HeDfN9du8PBaXz7Vx87nxtgx7dNNcv7fOUGG3DluezeeW5c1n84SysXb2aPPasLcsf/yUjd3R/5uncfdjtXHpZX9Hnz69zZJ7fIPSbkjrXSKHD27t74FE+7P1C6x6ooGA/d6cULhvcQFiFlzln4WdVRc48j6Q49+kNj8vCVmZu7Fl81KsWD4bixfNwMoVc8zSOKm+7dgcuwSLF03H0iUzsGbVXCQnxuLokXgU5CegIDcWeYdG41hqMxxNqYYjyeWNO5x0PUK78jicRGfTvWHGu+nhwjZPSe1tflueG7ZxPIZy3jq84VD23jxu2PXb+hjn9x9Jvr6QI3kepUupYNwxX3kcO1AeOQfKI/dABeSmlUd+Ol0F4woyKqAgvQJ4REZFIJPHCkBmRX/YxDPsT49deTVaPnKBZtxHw8VA52AISLiPcCBIuI8QoMxFQAREIEICmzdvxvDhw82eAX369MHEiROxfv16cyPNWW8S7SMELPOTIhDqZpPjkOO0X79+uPzyf6Lxo9XQZ/zjmLixE6ZuftNxb2HKZjob5/f7w2+ZfPQzz1TjmM/N40/z5/GXEfT77YP12XBR+2B5/jqsvb9O2y73SHt/GbZsa2Pb6A+XpM3+NnntbbnB48m32baRZfvPsfg2B+uy51q0zmB54drM/G4dRe1Z/vFc/G2zdVv749scrk7bVnssWqflynKD9bt1Ftdm14Z+f9i21R5Pvs1F2xgcf/5z8LbZ1hM8nkqbi9ZZtM22X1wuQZ7+eovaB9vs53LybT6+Tn8ZLueidQbb7O8HW2e4fgm2MXgubh3W3o4NnmewDj8LG7bsrU1J67T2to7j7YvrS3+73Tbbdrj1B+vwtvnUONk2stwvF3ZAu+53omL1cmjWrBl++OEH7N69O+SGtHxgS9Ge/z8k2J/UT6gyi4AhEOq/VMilcppfgJj5VwIZ5QNCbl3g0KtAzndA/h4U5CchNycBx47uN6I8j/m5ScblHkvwxx2JR87R/cjLSUJBXhwKcpYh/9CHyElrjByusX7geuQcuC7grkWOj+46x50o7M17ovyh0t04+q/1t6dIO2w9bl7GBfK7eQ+EymPtvccQ9iVi4KmDdRZy9PPMPXAdclP9Li/1OuSlXo/8NLrrUJBOd71xyLgeyLgO/iP94cL+PLEryqFlsz9IuNf1JGoISLiPsCsl3EcIUOYiIAIiECEBznDbv38/du3aBS5F4vP5zPqyEuwjBCvzUyIQ6maTY5JLOjV79CGUq/h3dOjXGJ8veAbfbnoZ38bKiYHGgMaAxsC5PAa+WtMeXYY9iDsfqY5aN9XAkCFDzAQBrm1vZ9tziRwKi3Y5Pgn3p/QTKiMRMARC/ZcKLdz/ATHz/wVkXBsQdjnr+mYg+17g4NPAkY+AY2OBYxOBY5PCuoJjE1BwZBgKDr6B/MxmyM+4DblplQKi8rXITf130B1w/dcil2HXMa8NW7sDgTJsPI8mn1O2TbP2hbaB8kKFbTnWxhsOGR+uLU67TVuKyXeqbUllmX6Xl3otjEu7FvmOK0i/Fq7z9y37t+QudsUVaNns/yTc63oSNQQk3EfYlRLuIwQocxEQAREQARGIIgK82bSvdnPW5eHDh83G0127dUWNmyqhcatK6DOlGUauehpjNzx3kq4dxm6gO1m7kuQPV264+JKUeaI8Z6rscOUyPlzaidp6ovQzWW64ssPFn6itJ0pnuZGUXZytmxbOf6L2nWy6W8/J2haXP1y5jA+XVlx5JUk7k+WGKztcfEnaW1yeM1Uu6wxXdrj44ts5cNZjeOC5mqhZtxLaPtEWy5Ytw759+0LOtnc3pNWM+yj6cdepnFUCJRfu/w8x8y8DMq4J4coDWY2B7GZAdsuwriC7JQqyW6Ag6x4UZNRCfto1IV1e2jUo3l3tSfeGz4S9Wwf9bvhE9THdm98b9pbhrcOb3xsO2ofjWhiffg0KPC50v4bq66JxsSv+JeH+rH5jVdmZJiDhPkLCEu4jBChzERABERABEYgSAu6NJkV7zrzkpoWjRo3C/Q/djaq3XI5XP70dn/7cAiPWtMbIdW0wcl3bgGuDUev8zsaPMmnMY/NZf/Doz8My/HFBm2C5x9sH04L5vfbBOoq3L9pm//lYW9uuYH0sK3ydRfMdX5a/vKL2bY8rz7Jw7V0bL2c3X9BftC2uPfMEw/42eev01xEsI5ifbILxQbvj412b49tsGVs7ewy2x7UvWmcwjxtftA5vP51sm/2MWKb/HN06bVu9dXjDbp2ufTC+aJvdfgnWUZSxrSNYXpBTsNzj2xxMC+b3n5s3HKwvWEd4zsFyi9ZZNN5bRzBcNJ+/Hpe5vw3B/H4uRcM2vz/Ntt/N4+V8fD3W1l8fy3DtmT8YDuZxz9lfR/B8gvmPL9u20eXqrfP4Noc6z2B9XnuWPWJtGwxf2QodBt6G6reWQ/0G9TB06FCzIW1ycrLZu4Sb3ofakFaifZT8sOs0fhEC7v8pvr0SfnPa3yNm/j+BjHKn5tLLoaCELj+9HOQiY1BS1qfcn4FxELviMrRs9nvNuP9Fvr2q9EwQkHAfIVUJ9xEClLkIiIAIRDkB3rxz1jUFXG5Qal16ejqys7PN7GzekPDmn0uqMJ2v3vNIO35Yhl0CiOulM40b4lEcth/m4WvEjKcdw8zLenjTwyWFWK4t27aD8UznTRLbYPPwyDbbdFuPe6QwzXTa6gPDgdzdm8w1a9bguefa4Yabr8Udra9F7+/uxscLH8TgxQ/LiYHGgMaAxsA5PAY+Wvgg3v/+btR7qBwq17gW7dq1w/Lly83vLH8jMzIyzG9guCVy9NuofwYicGoETk64/weQcRWQzrXurWOYm9ZeGYgP+AvDgXy0MXaB/OlXooAu7Sq/s+H0q1BgHNMCeUw+x890m+a1N/GBdJvH5Ge5Ieq0+QvTnHpKYm/sAm1m/kIbj9/bZnuOhefmtNm2iedW2C6Hk023tiHrdPKbfP42FvZTYV/YfmE/efqS/Wr72vSxt2+vQuzyS9Gy2fkS7k/t6yerc5CAhPsIO0XCfYQAZS4CIiACUU6As/K4YW7Dhg3x5JNP4vnnnzfu1VdfxaeffmpEeG6m26tXL9xzzz1GGGjRogWeeuopY0cRmALBnXfeialTp2Lx4sV49tlnUaNGDWzdutUI9ERIAWHOnDmoVq0aJkyYYMqdP38+Xn75ZXAd3mHDhqFt27Z44oknCtvAtjA+Li7OzA5/++238fjjj5t8bdq0wR133IERI0aY9FDdxOUCaM8HDxIoigr3fKjBhyaDBw9GjZrV8ferLsAtD1yBx96qilZdq+Ex424wfhvm0e9uwGNdg2k23h8XjGcZblowTHtbh5uHftc+6Gd80N61YR5/Pltm6Db62+wt42TazHL9dQTbFbo8275I2+wvx1+HW2fwnG2bwnG26W5/FW2zn4u1D+a352DbEKzTz8CmH29vy7D94g8H2+/tS7YtWKY/nz8ctDlRm4N1hLYJls92R95m1uet8/S32c/FX1eQkcvC73fPOej3cg7f5nB96efk1uc9Z3/Y2vP7UbTNNj38+PPb2LZF3mbbLzwGWfjrd8ORtNnPJdhme10Iluk/b9bnr9M/Nmz68faWk80ftHdtrD/IuXmnqmj85LW4/N9/wp2NG+Hzzz83v4d8kM7re1ZWVuFse3dDWj7A1W9iqH8NihOBkhEouXB/PmLm/x3I4Dr3/wLSrwAy6EKFrwikB9JMvhD5TRmOvTdcxM6Waeu04TD2RWzD5ClyDrY8287A0dum4sLh6jTxbIOtI0x7bHpxdXjbfFydJ6ijiH2gTYVlOO0ycSHabNsYSI9d8Q8J9yX7qilXKSEg4T7CjpJwHyFAmYuACIhAlBOgaD5t2jR06NABc+fONeudr169GuvWrcOOHTuMYN69e3cjsC9YsACrVq0yM/refPNNswEeZ89TJKhevTrGjx+PefPm4ZlnnkGrVq2wdOlSIxwQIcuioF+hQgVMnjwZBw4cwMyZM41Qz817Bw4ciC5duhhxn/Vbx019KT5wdn3r1q3x2WefYeXKlaYNs2fPRvv27bFo0aKQvTRr1iy88847hQ8PQmYqI5Hem0y+7UCm5HfZ5ZfhvP/5T1z0l//BX6/4Pf56xf8FXHF+N83NX5L4UHlYBuPdtJL63Xzh2uItO1y+cPFuHeH89hzcMsL53TLcPCWJZx43n/WHi7ftcvOdqE5rc6J84eoMF2/Lddti/TYtVJ3ePG44VH5vWTaPjXftrZ9H67f5rJ2b5s0TLhwu3pZp6/DmKy7e2lobHq3f2rl5bJo92jxuOFT+k83nlhHOH6pOW49rEyof40oS7+bx+r1ht85wftfGzRMq3qbbI/OEyueNd/MU5z8+7S//+j3+9I/zcd3114APtmNiYgrfnuMbanzjzM6250N2OivaS7gvIz/+Os0zQsD7nyr8Ujm/Q8z8vwLplwHplwcc/dYxzvpD5fHaRBq2dYSr05Zv22XD3vzesM1vy3fDNs7aeMs8Udhrb8O2DmvvDdv6vPlLErZ5bBm2jpKGrb1tU9Fw7PK/oWWz32nG/Rn5dqrQX4KAhPsIqUu4jxCgzEVABEQgyglQuP/+++/RuXNnrF271qyNu3fvXiQkJJglbXhz0qdPH7zwwguYNGmSSaeQvnDhQiOeUwD2CvdvvPEGvvzySyPs21n3/D165JFHUKtWLUyfPj2kcP/uu++aBwOs3zoumWNn9T/00EOmLRT1WSdFCbaJDwW8H67pywcNI0eO9CaVybD3JtMuUzR8+HB07NjRPBTh2wyPPfYYWrZsCb5V0bx5czz66KOm39h3dM2aNZMTA40BjQGNgV9oDNhrMa/NvEbzes0H6XxQzYfg7hI5fLDOaz1FRYn2ZfKnXyd9hgh4/1OFF+7/FzHz/wykXyonBoVjIHb5X9Gy2f9KuD9D308Ve/YJSLiPkLmE+wgBylwEREAEopwAhfspU6YULn3z448/go6z5SmO82Z/xYoV+Oijj0BhneIAHWfnUzBnule45yx32nDZG87A5yv7XHe3f//+aNCgQVjh/rXXXsO3335r6rftoPDPD5d2ee+999CzZ0+MGTMGnG0/Y8YMcI12lu/9bN682czE5++gPv5lcnij6a5xT1Fn3759iI2NNQ9t+DYF32bgEkNLliwx/PiAhg9AuKwR+5KOfS8nBhoDGgMaA2d3DPD6y2sxr8m8NvNtM16r+YYcH3Zb0Z7707iivbtMDn8H9BEBEYiMwMkJ95cAGf8A0v8ecPRbxzjrd/KY/OHCbn6bh+voW79bZqDOwvJsHrcMb56AfcjySmrP5YFsHW57PHEh6/C2x6mzSJkh6ghZnrV32+Gtwxu27bRcbRk2HMhf2HfesM3vbaM/HLv8z2jZ7H8k3Ef2NZT1OURAwn2EnSHhPkKAMhcBERCBKCdA4Z5L13DN+LFjx5rZ95yBT3GA699zFhFfuaefIvo333xj1pi/9dZbjRDPme1e4Z7r4VMMvu+++8wyPBSDWTbXqmdcuBn3XO9+9OjRhW1gOzZu3GjEZs4a5Cv/FJop6lPA5+x9rovPhwLeD5ft4Xm5G+R685SlsPcmk1z4MIRM+eYC36Lg2w3sS/Y1xwVnb7LPyHzPnj2Fbvfu3ZATA40BjQGNgbM3BtxrMK/JvDbzGs1rNZc9c0V7/i7zN5PXeIn2ZemXXud6tgh4/1OFn3H/P4iZ9ycg/W9yYlA4BmKX/0nC/dn6sqqes0JAwn2EmCXcRwhQ5iIgAiIQ5QR40//DDz+Y2ezx8fFmlp6dqcfZ9PRzpjs3qqUAQEGAAgFn6VNkpygfSrjftm2bmRnPWfEffvihWSOfZT344INhhXvOyKc4wXzW2QcHnFnIsphOsZkPEyhccEkXvgHg/bCsIUOGeKPLbNh7k8m+tDeaZM0ZmtxAmOI99x+gEJSUlGREIS6bRIGI44OO3OXEQGNAY0Bj4OyMAXvt5dGK9bw+8zrN319et3n95gNYd117XuOtcG9/A8rsj6BOXAROIwH7fXLfYrQTIfi/mhNPypcvj9bNf4uYeRcD6Vwu5y+OYzgQl8Z4J92EnbyF6W4ex57lpjlhr31hvcXZh2qDU6YpwwkXtinQzpB1Ovm9bfSGQ9p72+Qtz5PubWPIOlhGJG126ixss9Ou47g4aaY9fvvY5X9Ey2a/1Yz70/idVFG/LAEJ9xHyl3AfIUCZi4AIiECUE+ANBjeJ7du3rxFsvadL8Z5r1j/33HNGpOdNCoWBAQMGGMfNY0MJ91xGh7Mx+/XrZzar5aaynAFYnHBPgZ9ihPdDO5Zn3wqgsMw4Phxo2rQpvvvuuyImFC/4ZgDPS58gAd5o2ptMK9yTI4V7PpCheM8HIlx6iA9nyJl9S3GIjjPx5cRAY0BjQGPglxkD9lrM6zKvzxTs6Xjd5vWb13GKh5xp74r2vO7z+q+PCIjA6SFwcsL9hUD6JUDaJUA6Z9/TOeG0QNimmXxuXk9+a88y6Ke9a2PKC2fDeE/+UGFbh7fNbp3Wf6r2bptNfafY5sLzDWfvcHLb7NZZGO/0i/e82N6I2+xvY+zyi9Cy2XkS7k/P11GlnAMEJNxH2AkS7iMEKHMREAERiHICFO7HjRuH2267DVxj/u233zauR48eRpinOMClaSi8Dx48GIwfNGgQPvnkE7POOcWCUML9zp07jYDA8l566SUj+p9IuG/VqhVeeeWVwjbQ9vPPPzcb1vJhATe8Zb18aMDleEaMGGHeBNiyZUthL1Gg4PI6ixcvDrlpbWHGMujx3mhSvKfA4xXv+eCDQhBncFLEt+KQe6SwLycGGgMaAxoDZ24MuNdc6+c1mc7OsLez7PkAtjjRXsJ9GfzR1ymfMQLe/1P2DUb+Vy064/48xMy7AEj7Y8Bd7PgZFyps4zhT3zrH3sT9EUg/kb1Nt+U5ZRRpj5tu6/PG2fpsmbYsG7b5ebTO5rFl2jKKSTft8qbbOpzyinCz+Xl08pCPYeS1Z7zTppB12jKd8rx12n4oUZ22PH8bY5dfiJYPS7g/Y19QFXzWCUi4jxC5hPsIAcpcBERABKKcAMUALpXTpEmTIu6ee+4xM9z5Wj4/3Phu5MiRZo16CvHcvJaiL4Vyirxcn/7nn3/G+vXrzQazvHGhMMzNZidOnGjy8Mbm/fffNyI+xYbVq1ebhwAUfqZNm4YXXnihSBvYJgr5c+bMMW1gXfS/+uqroMg/fPhwM+vQFSSYhxvWcrY/Zx/qEyRgbzR5JCe+TeGK9xR97Ox73nzS8cGMdewz69jncmKgMaAxoDFw5saAvd7yaK/D9sjrM3/jrGDPB7DhZtq7v5HBXwT5REAETpWA/T9l/0u5wj3fHLVL5bRpeT5WL7wCyCkBHhwAABukSURBVKwJZFTxb0RrBOCLgLSAS3f8jEu/MJhmwp50bxzt3TJcf5qnrJOuM2BfpExPfaHabOtxj24Z9HvDhXlPsc2F9uG4eji69ZeEU7FtPrk6Y5f9AS0f/k3hjHu+TcVrOv+H27elOLZ07T7Vb6jszjYBCfcREpdwHyFAmYuACIhAGSPAP4n840ihgKIuRQEe3Q/jKBDwyHzn6h9L/ullO3k+FDsobDCuLH/cm017w8n+5Y0CWZERedGxf72OQpGcGGgMaAxoDJy9MeC9DttrNI9ewZ7Xcz6Utdd6eyzLv3s6dxE43QTs98r+j7LCPa+LVrivVKkS2j15OTatehQ4+glwuCeQVQfI4Ea1FKcvCB6Nn2HOzneORlB2wyfwm3Jt2bYsLtUT8Bcp26Z7jt46XduStpk2rl2xfra3hG225dry7PE4e+d8Q7XZ5A/BpbA8p/22TpZTyC9Mm22ewnyBckwZwXOMXfZ7tHz4vyXcn+4vpsr7xQhIuI8QvYT7CAHKXAREQATKGAGKALNnzzZr3nO5G86E54aw9kNRYPLkyWbG/YQJE8wa9rxRORcFcc5gWbFihVnrnpvr8o0AvmFQlj/2ZpNH9pm96WS/WmdFfAr5cmKgMaAxoDFw7o0BXqfp7HWbYj0dr+nudZ5+fURABE4vAfsds/+hQgn3t956K3r1fBzJ+ycDeduA3PXAkf5AVoPAOvP/B6T9Hkjj0TqG3TjXb/MUdwxlfyplnKgONz1UnW76ifxee+Y/UZu9NiXJ77bjZO29bfLae9Pduqw/2MbYZedLuD+9X0mV9gsTkHAfYQdIuI8QoMxFQAREIIoIUMjm8jTLli0zbuXKlaA4T+HdfngTQqF+wYIFiImJATefddN5sxIfH2/K4TryGzZsKJzdR9GA691zWR3vhzMGucFsKJGfZbKeffv2GSGCGx/aGf8sh23ijHn+pnFZHaZzY1r3wzV/eS5ck5/t4IdxXLqHm9fSbd++3cxOdO3Kot/ecNoj+dqbT7KzQpAVhnT0C2TiIA4aAxoD58IYsNdoHnnNprPXcXtdt8ey+BuncxaBs0XAfs/sfyh+J/kmTFxcHGbNmoV1axfg8MGtQH4CkB8P5C4DjvQDsm73r7Oedj5gHEVd6z8fSHf8jE/3pBth2xPntTmuPDc//W44RB0h6/S067g6nPSQ9t46nfxuWYV+N/9ZaPNxXEPVeTJtDt2Xscv+Fy0f/i/NuD9bX1TVc8YJSLiPELGE+wgBylwEREAEoojAwoUL8c4775hZ9DNmzDAz0bnh65AhQ4zIbQXvdevWYeDAgSYv16rnjYn74U0J167nLPYlS5YUJjGes9pHjx5dGGc9XCv/448/Ng8FOHvT/fBGh20YO3asaQc3w928eXPhMjx8ENC3b1/zMIEPBn766Sf079+/sAg+aOB6otxkl+st8wZq1apVZm19rq/PhxBz5841m9nyaM+zsIAy6LE3m/ZoRR/3aAUhHf3CmDiIg8aAxsC5MAbc67Trt9dzeyyDP206ZRH4RQjY7xyP/E7y/zAny6SnJeCgbxfSt6xG1p4NyDu0E8hdBBzpC2TVD4j3vwPS/vfccannUFsi5XKOnkvsst+i5cP/KeH+F/m2qtIzQUDCfYRUJdxHCFDmIiACIhBFBCio33fffUZsX7t2rdnElQJ927ZtzdI3nBVPUYJL4Nx1111o3bq12UiWGybZD29ItmzZYjaVffrpp424zzh+OEuedXDzWu+HNi1atDB1sh73QyH/iSeewOuvv46EhAR89tlnRmznOqGcJf/FF1+YjXI5e54z9ocOHQpunssbJM7+Hz9+PPr06YOvv/7axGVkZJgy3nrrLZPGmf58e4APLXr27GnOya2/LPvdm83i/K44JL//DQVxEAeNAY2BszkGirtGu2ll+TdN5y4CZ4NA3rEcZMclY/+idYibtxr75q0yLm7+aiSs2ITMlFQkJyYhZe9O7FuwAKv6D8P6z0YjNXYVcg/uAHKX+MX7zNpA2p+AtP8B0n7rd6meo4k/D7DxheHzjrdhmpuviN/NT78bZp2BOmhj7ELV6bbNa2/tAnlseYXnFapOt7xQfreOUPbFtNGwcNJdFi6nIvHMf6I6vefpDbv2loV7buchdtl5aPnwr4sI97y/4XKlfKuLE5r428Lruj4iUBoISLiPsJck3EcIUOYiIAIiEEUEKKq3bNmycFY6/xBS1Kbw/cknn5hlaDhjnTPfn332WUyfPt0I8cxjP/xDOWzYMHDGPmfBt2rVqrC80yncz58/H5z536tXL9x9991m5pL9I0vhvmnTpqBA//nnnxvBnzPr+eEfXS4F9NFHH5lZ+LbdPHIZnUGDBqF58+ZutPwBAq7wI3+BuWESB3HQGNAYOJfHgH7AREAEzj6BwylpiB31A76u9SRGXt8cI6971LjRlVth6n1vIH75RsRv24WtsxZg4esD8FXVxzG2emusGfQl0javRv7RPUDuGhQc7ov8jBrI812A3JTzkJvyG79LDhxtXGHYxoc4mjwswynH+M9Dbih7b1xhOGBfGPbW5ZbPtECdhflPZO+UZ2wC9vbczfFEbfbW4Q07ddjyvOWz3YVtDuT3hmnjjSuuzUXq8JYZbOOGxf+NFg/5hfsRI0aYZUYl3J/977FqPH0EJNxHyFLCfYQAZS4CIiACUUTAK9xzpjuXvOHM+UWLFpnZ7MuXL8c333xj1ubkjHfOuufSNfbD138pfE+dOtXM0ufseKZzVv7pEu65BA8fGjz++OPmAQI3mKUgzw+PFO5r1qxplt6pXbs2vvrqK9hZ/BT3P/zwQ7NMjnetfdpSuK9Tp455s4BijD4iIAIiIAIiIAIiIAIiUFICJRHuN06Zh9kv9MXYmm2NuD/q+ub45pansbLPUBzYvBq5OfuQc2QdMpJ6I37Ljdix+n+xPeY/A+6/sD2GjmHrL8kxlP2plFFcXd7yQtVZnL03LZS9t45QNm7cqeR3bVy/W67rd/PQ74aZzxt2bYumz5zwn7in8X+YGffhhHv7wLikY1L5ROCXJCDhPkL6Eu4jBChzERABEYgiAiNHjkTVqlVx//334+GHHzbLz3D5mB9++KFwjXvOVP/ggw/MRq9cn/Oxxx4zIj0Fewr93EC2ffv2mD17tlmvfvLkySYPl6w5XcI923DvvfeaZW243M3zzz9fKLRb4Z7n0b17d9MWtpcb7fLDNwK4HA4fLLD93g+Fe4r9zCfh3ktHYREQAREQAREQAREQgeIIhBfuH8OkOzoi5sNx+KHtuxhX5xmMKh+ckT+qQgtMuuNFLO7xGfasXAVf8l7s3b0EM757D2++XgeNGpyHejf/B+rd9KsQzo2n3xsOZePGufkZ74a95dl0b57iynPTrN9r7w3bfOGObn7m8Ya9dkx387j+kth783jL89bnzV+S8K9Qveqv8Ne//BrVq1fHmDFjzBvB7ox7Llsq4b64b6DSzjUCEu4j7BEJ9xEClLkIiIAIRBEBCve33HIL3n77bbz33ntmZvqsWbOQlpZm/iBy1ny3bt3wxhtvmHXwFy9ejE6dOpn145cuXWrWn+eSOhTGJ02aBKZzc1sK4Rs3bjTlnI417lnHK6+8Yja65cx7rplvN661wn29evUwb9480wa2mYI83xDgn122gX+EuSa+++HakczXsGHDwhn8brr8IiACIiACIiACIiACIlAcgeKE+4mNOmB579GY0vQ1cOkcu4yOPX5VvQ1mP98XO5esgS85BXw7dNq0aea/7k033YQaNWoYQZeirlzpZMA+9Dq+KUxXq1Ytc99Ut25dtGvXDj/99JOZPMU3h3mfwjeHJdwX9+07t9LYX/v37zfLu/K+k/1YFieGSbiPcFxKuI8QoMxFQAREIIoIeJfKcU+NfxK5Nnz//v3N+vAUxefOnWtuJtq0aWPWs+cGr7feeqsRxbk8DvOMGzfOLKfDNea3bdt2Wjen5Zr0qampZj19viHAhwdcg99uTmvbP2rUKLz55ptmc1qeR2xsLLjpLh8qJCYmmmz8Y0X73r17o0ePHtZURxEQAREQAREQAREQAREoMYHwwn0rTGnyCrZ88xMWvfkZJt/5MkZXbFko3o+p8ji+f/gtrPlsEg7s2Y/srCwkJyebt0b5f3rAgAFyUcKAy3Zax3sSThziG8WcnMQlQYcPH2724uI+Ynxj2b7ZLOG+xF/DcyIjJ73xnph7snHvN04iYx+WtY+E+wh7XMJ9hABlLgIiIAJRRODrr79G27ZtCzeTdU+Ny+B07doVXPqGNxHu55lnnjHL1XD2e7Vq1cyGtjadQjo3kuVmttywljPdO3ToYGaPpKenmyNf/9yyZYtZmoez9CmmM42by9pXQznrhMviMI2b33LNfQr3/OzatcvMROJDBf6uffHFF2apH9sGLnvDTWrvu+8+UybFe978dOzYEVOmTDF1sdyXX34ZXBqIf7L0EQEREAEREAEREAEREIGTJXDYl4Gt437ExNs7YNyNT2Fcbb/75pZ2mNmqB3zrd8C3fjtW9B6Nbxu8gFHlW4DL5Ext+ho2jpyO7MQDZlY1/3vzrde4uDjzX5f/d+Wig8Hu3bth3Z49e8xSo1xWNCEhwdxn8R6H90IU7e29EO9nJNyf7Lfxl83P7y/3e+Pb3E2aNDH3yPxel7WPhPsIe1zCfYQAZS4CIiACUUTg559/Nhu68jU+LjnjfjjTg6I2Z6V70ziznmI5N4HlZrYU6+2Hefmnk6I7ZxxQKOfDAYrm1o0fP97Mxuda9FwCh8I+07p06WJm7HNW/ZAhQ0z5/BM7Z84cM2ue5fLDP7J8DZFr2lPQ5/I+/fr1s00wryRu377dbKrLTZ74J4q2W7duNe3hcj/8U8VNbu2yQIXG8oiACIiACIiACIiACIhACQnkHj6K9O1x2PX9YuyYshA7piwwbufUn7HvpxhQ2M85fBSpm/dg1YfjQUGfIv+W8T8iMz4ZuTk5RYR7irncQ0ouehjwYYx1VrDnbGxOjnJFe04msrPteb/DyUe8tyqLy62U8Ot3TmWTcO/vDgn3EQ5LCfcRApS5CIiACEQRAf654Fqa/FPo/fBPIpe6oXDu/TCOfzr5B5QbvnpfAaQtZ9T7fD7ziuDatWuxZs2aQscbEf4x5cwTrv9n07guPtPspre8ceGfVv6hzc7OLlIP20whnmmshzOS3A//9PLPMOuwMx24ViRn2rPOnTt3GjFff4RdavKLgAiIgAiIgAiIgAicDIG8o8eQtS8J8QvXIm7eqqCbvxqJyzfhSHoWDvvS4duwE1vGzcHPbwzG0h7DsXP6YqSs347sBB/ycnLMf15OhuF/a/5flYsuBhTqrVjPPuY9DCcr8b6K/c57I06m4n2LO9tewv3JfBt/2bwS7v38JdxHOA4l3EcIUOYiIAIiIAIiIAIiIAIiIAIiIAIiIAIiAOBY5kHEL1yDxV2HYuFrH2Phqx8ZR4F+1QdfI2N3AhJXbMK6Tydh7vP98UPL7pjV5l3M6zDALJ+zZ84K5AY2IqV4S/GPoq5c9DGgUE/HPqZgz2VC+VawFe05yYjCvV0ix4r2mmhUOi41Eu79/SThPsLxKuE+QoAyFwEREAEREAEREAEREAEREAEREAEREAEAxW1OO+3+TkhZsw07pi7ErDY9CzemHXndo8Y/5a5XsG7IFOQcOmLegOWMawq5FHTlSj8DzqQP5djHVrDnmvZ8U5iifaiZ9hTtJdyXjkuNhHt/P0m4j3C8SriPEKDMRUAEREAEREAEREAEREAEREAEREAERKAkwv3a7QHh/t2Qwv16CveHj5q1zDnbmuI9Z2BzmUi50suAfRjKUainYz9bwd67PI67tr1E+9JzmZFw7+8rCfcRjlkJ9xEClLkIiIAIiIAIiIAIiIAIiIAIiIAIiIAInGbhnjOuOfOagq5cdDFgv7rOivV2ln2o5XE02750XWIk3Pv7S8J9hONWwn2EAGUuAiIgAiIgAiIgAiIgAiIgAiIgAiIgApEK901ewfqhU5B75BgK8vPNcjkUcuWinwGFeivWc4a9d5a9RPvSd3mRcO/vMwn3EY7d2NhYPPXUU7jwwgsxdOhQsylGhEXKXAREQAREQAREQAREQAREQAREQAREQATKHIETrnFf3FI5rnBfUGCWy6GAa0VdHf3idjRxsCK9e+QmtO5GtBLtS+dlhBsPDx48GA0bNsQ999yDnTt3ms2GS+fZnHqrJdyfOjtjuXXrVnTs2BGXXHIJBg0ahMTExAhLlLkIiIAIiIAIiIAIiIAIiIAIiIAIiIAIlD0CRzOysW9uDBa8+hHmPtcPPwXcvPYDsLzXSGTuSkDi8k1YPXB8YZrNs6zHF9g9cxnyc3LNBqQUbCnguqKu/P7Z6NHAwQr03qMV6t1j2fsmlf4zTkpKwoABA3DbbbehefPm2L17t3l7pvSf2cmdgYT7k+N1XO49e/agd+/e+Ne//oVu3bqBM/B5cdBHBERABERABERABERABERABERABERABETglyFghVuvsKuwf0Z6aedg+7e44y8z8lRrpATYp9u3b0eXLl1Qv359vPLKK9i/f795eybSskubvYT7CHssJSUF48aNQ+XKldGqVSvMmTNHwn2ETGUuAiIgAiIgAiIgAiIgAiIgAiIgAiIgAiIgAiJQtghQtOe+FPPnz8fjjz+OevXqYdiwYUhPTzdv0JQtGoCE+wh7nDuTc5Y9B1ODBg3wwgsvYOLEiVi3bp1ZNocDKyMjQ04MNAY0BjQGNAY0BjQGNAY0BjQGNAY0BjQGNAY0BjQGNAY0BjQGNAZCjIHk5GSjsU6bNs3oq02aNDHLk69duxZHjx4tkxOlJdxHKNzzSVB2dja+//57PPfcc+CgeuCBB/Dss8/i9ddfx5tvvom33npLTgw0BjQGNAY0BjQGNAY0BjQGNAY0BjQGNAY0BjQGNAY0BjQGNAY0BkKMgU6dOhnB/pFHHjFL5Dz11FOYNGkSMjMzy+Rse0rWEu4jFO5pTvGeT35mzZplxPpGjRqhevXquPbaa3H11VejXLlycmKgMaAxoDGgMaAxoDGgMaAxoDGgMaAxoDGgMaAxoDGgMaAxoDGgMRBiDFBHrVatGho2bAiK9mPHjkVcXFyZnGlv5WoJ95bEaThyDaYdO3Zg6tSp6Nu3r9k8gUvnPP/883JioDGgMaAxoDGgMaAxoDGgMaAxoDGgMaAxoDGgMaAxoDGgMaAxoDEQYgxwE1rqqRMmTMDGjRuRlZV1GtTa0l2EhPvT2H+ceZ+bm4vDhw+bwcX17enS0tLkxEBjQGNAY0BjQGNAY0BjQGNAY0BjQGNAY0BjQGNAY0BjQGNAY0BjIMQYoIZKsZ66KidH5+fnn0bVtnQWJeG+dPabWi0CIiACIiACIiACIiACIiACIiACIiACIiACIiACIhClBCTcR2nH6rREQAREQAREQAREQAREQAREQAREQAREQAREQAREQARKJwEJ96Wz39RqERABERABERABERABERABERABERABERABERABERCBKCUg4T5KO1anJQIiIAIiIAIiIAIiIAIiIAIiIAIiIAIiIAIiIAIiUDoJSLgvnf2mVouACIiACIiACIiACIiACIiACIiACIiACIiACIiACEQpAQn3UdqxOi0REAEREAEREAEREAEREAEREAEREAEREAEREAEREIHSSUDCfensN7VaBERABERABERABERABERABERABERABERABERABEQgSglIuI/SjtVpiYAIiIAIiIAIiIAIiIAIiIAIiIAIiIAIiIAIiIAIlE4CEu5LZ7+p1SIgAiIgAiIgAiIgAiIgAiIgAiIgAiIgAiIgAiIgAlFKQMJ9lHasTksEREAEREAEREAEREAEREAEREAEREAEREAEREAERKB0EpBwXzr7Ta0WAREQAREQAREQAREQAREQAREQAREQAREQAREQARGIUgIS7qO0Y3VaIiACIiACIiACIiACIiACIiACIiACIiACIiACIiACpZOAhPvS2W9qtQiIgAiIgAiIgAiIgAiIgAiIgAiIgAiIgAiIgAiIQJQSkHAfpR2r0xIBERABERABERABERABERABERABERABERABERABESidBCTcl85+U6tFQAREQAREQAREQAREQAREQAREQAREQAREQAREQASilICE+yjtWJ2WCIiACIiACIiACIiACIiACIiACIiACIiACIiACIhA6SQg4b509ptaLQIiIAIiIAIiIAIiIAIiIAIiIAIiIAIiIAIiIAIiEKUEJNxHacfqtERABERABERABERABERABERABERABERABERABERABEonAQn3pbPf1GoREAEREAEREAEREAEREAEREAEREAEREAEREAEREIEoJSDhPko7VqclAiIgAiIgAiIgAiIgAiIgAiIgAiIgAiIgAiIgAiJQOglIuC+d/aZWi4AIiIAIiIAIiIAIiIAIiIAIiIAIiIAIiIAIiIAIRCkBCfdR2rE6LREQAREQAREQAREQAREQAREQAREQAREQAREQAREQgdJJQMJ96ew3tVoEREAEREAEREAEREAEREAEREAEREAEREAEREAERCBKCUi4j9KO1WmJgAiIgAiIgAiIgAiIgAiIgAiIgAiIgAiIgAiIgAiUTgIS7ktnv6nVIiACIiACIiACIiACIiACIiACIiACIiACIiACIiACUUpAwn2UdqxOSwREQAREQAREQAREQAREQAREQAREQAREQAREQAREoHQSkHBfOvtNrRYBERABERABERABERABERABERABERABERABERABEYhSAhLuo7RjdVoiIAIiIAIiIAIiIAIiIAIiIAIiIAIiIAIiIAIiIAKlk4CE+9LZb2q1CIiACIiACIiACIiACIiACIiACIiACIiACIiACIhAlBKQcB+lHavTEgEREAEREAEREAEREAEREAEREAEREAEREAEREAERKJ0EJNyXzn5Tq0VABERABERABERABERABERABERABERABERABERABKKUgIT7KO1YnZYIiIAIiIAIiIAIiIAIiIAIiIAIiIAIiIAIiIAIiEDpJCDhvnT2m1otAiIgAiIgAiIgAiIgAiIgAiIgAiIgAiIgAiIgAiIQpQQk3Edpx+q0REAEREAEREAEREAEREAEREAEREAEREAEREAEREAESicBCfels9/UahEQAREQAREQAREQAREQAREQAREQAREQAREQAREQgSglIOE+SjtWpyUCIiACIiACIiACIiACIiACIiACIiACIiACIiACIlA6CUi4L539plaLgAiIgAiIgAiIgAiIgAiIgAiIgAiIgAiIgAiIgAhEKQEJ91HasTotERABERABERABERABERABERABERABERABERABERCB0klAwn3p7De1WgREQAREQAREQAREQAREQAREQAREQAREQAREQAREIEoJ/H+ZfT6BaJ34MAAAAABJRU5ErkJggg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pic>
        <p:nvPicPr>
          <p:cNvPr id="4" name="Kuva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57" y="1748333"/>
            <a:ext cx="11502401" cy="39852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E3F847F-02D8-452D-BCBE-AEC0D3C4C374}"/>
              </a:ext>
            </a:extLst>
          </p:cNvPr>
          <p:cNvSpPr txBox="1"/>
          <p:nvPr/>
        </p:nvSpPr>
        <p:spPr>
          <a:xfrm>
            <a:off x="624857" y="5695724"/>
            <a:ext cx="2051050" cy="10772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i-FI" sz="800" dirty="0"/>
              <a:t>Jäseninä ovat:</a:t>
            </a:r>
          </a:p>
          <a:p>
            <a:r>
              <a:rPr lang="fi-FI" sz="800" dirty="0"/>
              <a:t>Tietohallinto</a:t>
            </a:r>
          </a:p>
          <a:p>
            <a:r>
              <a:rPr lang="fi-FI" sz="800" dirty="0"/>
              <a:t>Asianhallinta / tiedonhallinta</a:t>
            </a:r>
          </a:p>
          <a:p>
            <a:r>
              <a:rPr lang="fi-FI" sz="800" dirty="0"/>
              <a:t>Tietosuoja</a:t>
            </a:r>
          </a:p>
          <a:p>
            <a:r>
              <a:rPr lang="fi-FI" sz="800" dirty="0"/>
              <a:t>Kehittäminen</a:t>
            </a:r>
          </a:p>
          <a:p>
            <a:r>
              <a:rPr lang="fi-FI" sz="800" dirty="0"/>
              <a:t>Digitalisaatio</a:t>
            </a:r>
          </a:p>
          <a:p>
            <a:r>
              <a:rPr lang="fi-FI" sz="800" dirty="0"/>
              <a:t>Asiakas- ja potilasturvallisuus</a:t>
            </a:r>
          </a:p>
          <a:p>
            <a:r>
              <a:rPr lang="fi-FI" sz="800" dirty="0"/>
              <a:t>Talou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BBEEEEF-2519-4A4D-9053-241E362BF423}"/>
              </a:ext>
            </a:extLst>
          </p:cNvPr>
          <p:cNvCxnSpPr>
            <a:cxnSpLocks/>
          </p:cNvCxnSpPr>
          <p:nvPr/>
        </p:nvCxnSpPr>
        <p:spPr>
          <a:xfrm flipH="1">
            <a:off x="2114550" y="4521200"/>
            <a:ext cx="819150" cy="1141344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45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BB7FAF1-EBE0-4574-BD40-65BFAB538641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1" y="566678"/>
            <a:ext cx="10439486" cy="587221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C7209E-CD1A-4713-80F3-FBA9D123B0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08725"/>
            <a:ext cx="576263" cy="360363"/>
          </a:xfrm>
          <a:prstGeom prst="rect">
            <a:avLst/>
          </a:prstGeom>
        </p:spPr>
        <p:txBody>
          <a:bodyPr/>
          <a:lstStyle/>
          <a:p>
            <a:fld id="{2A4837A0-F8B5-40DF-B7A3-2778985E9851}" type="slidenum">
              <a:rPr lang="fi-FI" smtClean="0"/>
              <a:pPr/>
              <a:t>2</a:t>
            </a:fld>
            <a:endParaRPr lang="fi-FI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1306F8-4946-4B9A-8A4E-55F15E7316CA}"/>
              </a:ext>
            </a:extLst>
          </p:cNvPr>
          <p:cNvSpPr txBox="1"/>
          <p:nvPr/>
        </p:nvSpPr>
        <p:spPr>
          <a:xfrm>
            <a:off x="7841022" y="3626584"/>
            <a:ext cx="335773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b="1" dirty="0"/>
              <a:t>Mika Ålander</a:t>
            </a:r>
          </a:p>
          <a:p>
            <a:r>
              <a:rPr lang="fi-FI" b="1" dirty="0"/>
              <a:t>Digi- ja tietohallintojohtaja</a:t>
            </a:r>
          </a:p>
          <a:p>
            <a:endParaRPr lang="fi-FI" b="1" dirty="0"/>
          </a:p>
          <a:p>
            <a:r>
              <a:rPr lang="fi-FI" b="1" dirty="0"/>
              <a:t>Vuodesta 2005 sote-tietohallintotoiminnassa erilaisilla toimintarooleilla.</a:t>
            </a:r>
          </a:p>
          <a:p>
            <a:endParaRPr lang="fi-FI" b="1" dirty="0"/>
          </a:p>
          <a:p>
            <a:r>
              <a:rPr lang="fi-FI" b="1" dirty="0"/>
              <a:t>Mika.alander@ylasavonsote.fi</a:t>
            </a:r>
          </a:p>
          <a:p>
            <a:r>
              <a:rPr lang="fi-FI" b="1" dirty="0"/>
              <a:t>+358 44 709 6399</a:t>
            </a:r>
          </a:p>
          <a:p>
            <a:endParaRPr lang="fi-FI" b="1" dirty="0"/>
          </a:p>
        </p:txBody>
      </p:sp>
    </p:spTree>
    <p:extLst>
      <p:ext uri="{BB962C8B-B14F-4D97-AF65-F5344CB8AC3E}">
        <p14:creationId xmlns:p14="http://schemas.microsoft.com/office/powerpoint/2010/main" val="20622875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4">
            <a:extLst>
              <a:ext uri="{FF2B5EF4-FFF2-40B4-BE49-F238E27FC236}">
                <a16:creationId xmlns:a16="http://schemas.microsoft.com/office/drawing/2014/main" id="{56F8AE20-57BD-40EF-BCE0-E7342229A4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2408" y="690262"/>
            <a:ext cx="11826158" cy="5226908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5B146B2-9B8F-4889-9DCC-092EBB41D018}"/>
              </a:ext>
            </a:extLst>
          </p:cNvPr>
          <p:cNvSpPr txBox="1"/>
          <p:nvPr/>
        </p:nvSpPr>
        <p:spPr>
          <a:xfrm>
            <a:off x="3831504" y="157076"/>
            <a:ext cx="3062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/>
              <a:t>Kehittämiskohteiden hallinta ARC-järjestelmässä osana KA-hallintaa, johon strategia on liitetty yhtenä osana.</a:t>
            </a:r>
          </a:p>
        </p:txBody>
      </p:sp>
    </p:spTree>
    <p:extLst>
      <p:ext uri="{BB962C8B-B14F-4D97-AF65-F5344CB8AC3E}">
        <p14:creationId xmlns:p14="http://schemas.microsoft.com/office/powerpoint/2010/main" val="2214420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isällön paikkamerkki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3658" y="593125"/>
            <a:ext cx="11286803" cy="52562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BDFFB6-86EF-4FF5-AC84-7C4504021BED}"/>
              </a:ext>
            </a:extLst>
          </p:cNvPr>
          <p:cNvSpPr txBox="1"/>
          <p:nvPr/>
        </p:nvSpPr>
        <p:spPr>
          <a:xfrm>
            <a:off x="3831504" y="157076"/>
            <a:ext cx="3113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/>
              <a:t>Digikohteiden hallinta ARC-järjestelmässä osana KA-hallintaa, johon digiohjelma on liitetty yhtenä osana.</a:t>
            </a:r>
          </a:p>
        </p:txBody>
      </p:sp>
    </p:spTree>
    <p:extLst>
      <p:ext uri="{BB962C8B-B14F-4D97-AF65-F5344CB8AC3E}">
        <p14:creationId xmlns:p14="http://schemas.microsoft.com/office/powerpoint/2010/main" val="4871377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isällön paikkamerkki 9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1627" y="710514"/>
            <a:ext cx="10586693" cy="54539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7CA782-0E11-44AF-AA5F-64B94DDC5D45}"/>
              </a:ext>
            </a:extLst>
          </p:cNvPr>
          <p:cNvSpPr txBox="1"/>
          <p:nvPr/>
        </p:nvSpPr>
        <p:spPr>
          <a:xfrm>
            <a:off x="914400" y="465616"/>
            <a:ext cx="42634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/>
              <a:t>Havainnekuva ARC-järjestelmässä tehdyistä sidoksista:</a:t>
            </a:r>
          </a:p>
          <a:p>
            <a:r>
              <a:rPr lang="fi-FI" sz="1400" dirty="0"/>
              <a:t>Yksi strategian kohde, johon (digi)kehittämiskohteita on sidottu alikohteineen.</a:t>
            </a:r>
          </a:p>
        </p:txBody>
      </p:sp>
    </p:spTree>
    <p:extLst>
      <p:ext uri="{BB962C8B-B14F-4D97-AF65-F5344CB8AC3E}">
        <p14:creationId xmlns:p14="http://schemas.microsoft.com/office/powerpoint/2010/main" val="439062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14519" y="254061"/>
            <a:ext cx="6756400" cy="741981"/>
          </a:xfrm>
        </p:spPr>
        <p:txBody>
          <a:bodyPr>
            <a:normAutofit fontScale="90000"/>
          </a:bodyPr>
          <a:lstStyle/>
          <a:p>
            <a:r>
              <a:rPr lang="fi-FI"/>
              <a:t>Kehittämisen </a:t>
            </a:r>
            <a:r>
              <a:rPr lang="fi-FI" err="1"/>
              <a:t>Roadmap</a:t>
            </a:r>
            <a:endParaRPr lang="fi-FI"/>
          </a:p>
        </p:txBody>
      </p:sp>
      <p:pic>
        <p:nvPicPr>
          <p:cNvPr id="6" name="Sisällön paikkamerkki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6677" y="963880"/>
            <a:ext cx="10379000" cy="5585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0706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653" y="340021"/>
            <a:ext cx="8754066" cy="6468551"/>
          </a:xfrm>
          <a:prstGeom prst="rect">
            <a:avLst/>
          </a:prstGeom>
        </p:spPr>
      </p:pic>
      <p:sp>
        <p:nvSpPr>
          <p:cNvPr id="2" name="Ellipsi 1">
            <a:extLst>
              <a:ext uri="{FF2B5EF4-FFF2-40B4-BE49-F238E27FC236}">
                <a16:creationId xmlns:a16="http://schemas.microsoft.com/office/drawing/2014/main" id="{F602C27D-F1AB-4C46-8388-6D54EF31D5F0}"/>
              </a:ext>
            </a:extLst>
          </p:cNvPr>
          <p:cNvSpPr/>
          <p:nvPr/>
        </p:nvSpPr>
        <p:spPr>
          <a:xfrm>
            <a:off x="2260871" y="6148955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Ellipsi 3">
            <a:extLst>
              <a:ext uri="{FF2B5EF4-FFF2-40B4-BE49-F238E27FC236}">
                <a16:creationId xmlns:a16="http://schemas.microsoft.com/office/drawing/2014/main" id="{05DE628F-3A4B-45E9-A815-C25E1C899EC9}"/>
              </a:ext>
            </a:extLst>
          </p:cNvPr>
          <p:cNvSpPr/>
          <p:nvPr/>
        </p:nvSpPr>
        <p:spPr>
          <a:xfrm>
            <a:off x="2239797" y="204817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Ellipsi 5">
            <a:extLst>
              <a:ext uri="{FF2B5EF4-FFF2-40B4-BE49-F238E27FC236}">
                <a16:creationId xmlns:a16="http://schemas.microsoft.com/office/drawing/2014/main" id="{EF1051B4-28AD-48C5-9993-41DD0BA728E4}"/>
              </a:ext>
            </a:extLst>
          </p:cNvPr>
          <p:cNvSpPr/>
          <p:nvPr/>
        </p:nvSpPr>
        <p:spPr>
          <a:xfrm>
            <a:off x="3525257" y="6108468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Ellipsi 6">
            <a:extLst>
              <a:ext uri="{FF2B5EF4-FFF2-40B4-BE49-F238E27FC236}">
                <a16:creationId xmlns:a16="http://schemas.microsoft.com/office/drawing/2014/main" id="{A1EE8E8A-B25D-487E-8DA7-2A529FB88987}"/>
              </a:ext>
            </a:extLst>
          </p:cNvPr>
          <p:cNvSpPr/>
          <p:nvPr/>
        </p:nvSpPr>
        <p:spPr>
          <a:xfrm>
            <a:off x="3532976" y="5638740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Ellipsi 7">
            <a:extLst>
              <a:ext uri="{FF2B5EF4-FFF2-40B4-BE49-F238E27FC236}">
                <a16:creationId xmlns:a16="http://schemas.microsoft.com/office/drawing/2014/main" id="{F0DCE1EF-5B70-450B-BDAD-B88C212DF658}"/>
              </a:ext>
            </a:extLst>
          </p:cNvPr>
          <p:cNvSpPr/>
          <p:nvPr/>
        </p:nvSpPr>
        <p:spPr>
          <a:xfrm>
            <a:off x="3525257" y="4881642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Ellipsi 8">
            <a:extLst>
              <a:ext uri="{FF2B5EF4-FFF2-40B4-BE49-F238E27FC236}">
                <a16:creationId xmlns:a16="http://schemas.microsoft.com/office/drawing/2014/main" id="{1C88FFA9-9478-4F88-B51C-0E0FCD8C889E}"/>
              </a:ext>
            </a:extLst>
          </p:cNvPr>
          <p:cNvSpPr/>
          <p:nvPr/>
        </p:nvSpPr>
        <p:spPr>
          <a:xfrm>
            <a:off x="3532976" y="3764630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Ellipsi 9">
            <a:extLst>
              <a:ext uri="{FF2B5EF4-FFF2-40B4-BE49-F238E27FC236}">
                <a16:creationId xmlns:a16="http://schemas.microsoft.com/office/drawing/2014/main" id="{F871CD79-F58A-416F-869A-2F670C818B56}"/>
              </a:ext>
            </a:extLst>
          </p:cNvPr>
          <p:cNvSpPr/>
          <p:nvPr/>
        </p:nvSpPr>
        <p:spPr>
          <a:xfrm>
            <a:off x="3525257" y="2657068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Ellipsi 10">
            <a:extLst>
              <a:ext uri="{FF2B5EF4-FFF2-40B4-BE49-F238E27FC236}">
                <a16:creationId xmlns:a16="http://schemas.microsoft.com/office/drawing/2014/main" id="{A2740D79-47D6-4151-9F82-8D4124856ECD}"/>
              </a:ext>
            </a:extLst>
          </p:cNvPr>
          <p:cNvSpPr/>
          <p:nvPr/>
        </p:nvSpPr>
        <p:spPr>
          <a:xfrm>
            <a:off x="3543896" y="3042087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Ellipsi 11">
            <a:extLst>
              <a:ext uri="{FF2B5EF4-FFF2-40B4-BE49-F238E27FC236}">
                <a16:creationId xmlns:a16="http://schemas.microsoft.com/office/drawing/2014/main" id="{6C5B1E83-7DB5-4157-B1A6-27E4C01A4190}"/>
              </a:ext>
            </a:extLst>
          </p:cNvPr>
          <p:cNvSpPr/>
          <p:nvPr/>
        </p:nvSpPr>
        <p:spPr>
          <a:xfrm>
            <a:off x="3548509" y="93045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3" name="Ellipsi 12">
            <a:extLst>
              <a:ext uri="{FF2B5EF4-FFF2-40B4-BE49-F238E27FC236}">
                <a16:creationId xmlns:a16="http://schemas.microsoft.com/office/drawing/2014/main" id="{7DBE3B8B-53A2-43DF-99CC-19893B0EE62B}"/>
              </a:ext>
            </a:extLst>
          </p:cNvPr>
          <p:cNvSpPr/>
          <p:nvPr/>
        </p:nvSpPr>
        <p:spPr>
          <a:xfrm>
            <a:off x="3548509" y="1365627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Ellipsi 13">
            <a:extLst>
              <a:ext uri="{FF2B5EF4-FFF2-40B4-BE49-F238E27FC236}">
                <a16:creationId xmlns:a16="http://schemas.microsoft.com/office/drawing/2014/main" id="{16784C12-CDA6-4B21-8249-CD7AF0AC3F9A}"/>
              </a:ext>
            </a:extLst>
          </p:cNvPr>
          <p:cNvSpPr/>
          <p:nvPr/>
        </p:nvSpPr>
        <p:spPr>
          <a:xfrm>
            <a:off x="3543896" y="2203857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5" name="Ellipsi 14">
            <a:extLst>
              <a:ext uri="{FF2B5EF4-FFF2-40B4-BE49-F238E27FC236}">
                <a16:creationId xmlns:a16="http://schemas.microsoft.com/office/drawing/2014/main" id="{99FC2484-E564-4A35-8D81-8D2C53096269}"/>
              </a:ext>
            </a:extLst>
          </p:cNvPr>
          <p:cNvSpPr/>
          <p:nvPr/>
        </p:nvSpPr>
        <p:spPr>
          <a:xfrm>
            <a:off x="4809598" y="1521305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Ellipsi 15">
            <a:extLst>
              <a:ext uri="{FF2B5EF4-FFF2-40B4-BE49-F238E27FC236}">
                <a16:creationId xmlns:a16="http://schemas.microsoft.com/office/drawing/2014/main" id="{641C3035-8BD8-4782-A70E-5AFA98A3A5DF}"/>
              </a:ext>
            </a:extLst>
          </p:cNvPr>
          <p:cNvSpPr/>
          <p:nvPr/>
        </p:nvSpPr>
        <p:spPr>
          <a:xfrm>
            <a:off x="4809598" y="172477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7" name="Ellipsi 16">
            <a:extLst>
              <a:ext uri="{FF2B5EF4-FFF2-40B4-BE49-F238E27FC236}">
                <a16:creationId xmlns:a16="http://schemas.microsoft.com/office/drawing/2014/main" id="{E39A084B-6022-4DDD-8B8C-4AE2048E68E4}"/>
              </a:ext>
            </a:extLst>
          </p:cNvPr>
          <p:cNvSpPr/>
          <p:nvPr/>
        </p:nvSpPr>
        <p:spPr>
          <a:xfrm>
            <a:off x="4818195" y="2428378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8" name="Ellipsi 17">
            <a:extLst>
              <a:ext uri="{FF2B5EF4-FFF2-40B4-BE49-F238E27FC236}">
                <a16:creationId xmlns:a16="http://schemas.microsoft.com/office/drawing/2014/main" id="{8E7FE90B-A35C-484B-8F75-398DCCE90E97}"/>
              </a:ext>
            </a:extLst>
          </p:cNvPr>
          <p:cNvSpPr/>
          <p:nvPr/>
        </p:nvSpPr>
        <p:spPr>
          <a:xfrm>
            <a:off x="4826792" y="264238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Ellipsi 18">
            <a:extLst>
              <a:ext uri="{FF2B5EF4-FFF2-40B4-BE49-F238E27FC236}">
                <a16:creationId xmlns:a16="http://schemas.microsoft.com/office/drawing/2014/main" id="{7B98F39A-12D5-4E40-B473-D402475FE088}"/>
              </a:ext>
            </a:extLst>
          </p:cNvPr>
          <p:cNvSpPr/>
          <p:nvPr/>
        </p:nvSpPr>
        <p:spPr>
          <a:xfrm>
            <a:off x="4826792" y="3724054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Ellipsi 10">
            <a:extLst>
              <a:ext uri="{FF2B5EF4-FFF2-40B4-BE49-F238E27FC236}">
                <a16:creationId xmlns:a16="http://schemas.microsoft.com/office/drawing/2014/main" id="{1C88FFA9-9478-4F88-B51C-0E0FCD8C889E}"/>
              </a:ext>
            </a:extLst>
          </p:cNvPr>
          <p:cNvSpPr/>
          <p:nvPr/>
        </p:nvSpPr>
        <p:spPr>
          <a:xfrm>
            <a:off x="2249360" y="241284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0" name="Ellipsi 19">
            <a:extLst>
              <a:ext uri="{FF2B5EF4-FFF2-40B4-BE49-F238E27FC236}">
                <a16:creationId xmlns:a16="http://schemas.microsoft.com/office/drawing/2014/main" id="{3EADE3E4-1056-4AFE-88F1-56CC00E02879}"/>
              </a:ext>
            </a:extLst>
          </p:cNvPr>
          <p:cNvSpPr/>
          <p:nvPr/>
        </p:nvSpPr>
        <p:spPr>
          <a:xfrm>
            <a:off x="7004706" y="3554011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1" name="Ellipsi 20">
            <a:extLst>
              <a:ext uri="{FF2B5EF4-FFF2-40B4-BE49-F238E27FC236}">
                <a16:creationId xmlns:a16="http://schemas.microsoft.com/office/drawing/2014/main" id="{60C564B5-EEF5-4E5D-86D8-86E309082417}"/>
              </a:ext>
            </a:extLst>
          </p:cNvPr>
          <p:cNvSpPr/>
          <p:nvPr/>
        </p:nvSpPr>
        <p:spPr>
          <a:xfrm>
            <a:off x="6926867" y="5808904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2" name="Ellipsi 21">
            <a:extLst>
              <a:ext uri="{FF2B5EF4-FFF2-40B4-BE49-F238E27FC236}">
                <a16:creationId xmlns:a16="http://schemas.microsoft.com/office/drawing/2014/main" id="{0D59C529-9179-4934-B2DB-C136016D2762}"/>
              </a:ext>
            </a:extLst>
          </p:cNvPr>
          <p:cNvSpPr/>
          <p:nvPr/>
        </p:nvSpPr>
        <p:spPr>
          <a:xfrm>
            <a:off x="4838728" y="3351343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Ellipsi 22">
            <a:extLst>
              <a:ext uri="{FF2B5EF4-FFF2-40B4-BE49-F238E27FC236}">
                <a16:creationId xmlns:a16="http://schemas.microsoft.com/office/drawing/2014/main" id="{4AC05D89-59A7-466A-A840-0A6AE12E84ED}"/>
              </a:ext>
            </a:extLst>
          </p:cNvPr>
          <p:cNvSpPr/>
          <p:nvPr/>
        </p:nvSpPr>
        <p:spPr>
          <a:xfrm>
            <a:off x="3550762" y="4509847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Ellipsi 23">
            <a:extLst>
              <a:ext uri="{FF2B5EF4-FFF2-40B4-BE49-F238E27FC236}">
                <a16:creationId xmlns:a16="http://schemas.microsoft.com/office/drawing/2014/main" id="{0E1FC2DA-E987-4BC0-A5E8-CAC60BD07984}"/>
              </a:ext>
            </a:extLst>
          </p:cNvPr>
          <p:cNvSpPr/>
          <p:nvPr/>
        </p:nvSpPr>
        <p:spPr>
          <a:xfrm>
            <a:off x="2260871" y="349870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5" name="Ellipsi 24">
            <a:extLst>
              <a:ext uri="{FF2B5EF4-FFF2-40B4-BE49-F238E27FC236}">
                <a16:creationId xmlns:a16="http://schemas.microsoft.com/office/drawing/2014/main" id="{1A54B3E2-1693-49FB-97E2-65DBEC0A8532}"/>
              </a:ext>
            </a:extLst>
          </p:cNvPr>
          <p:cNvSpPr/>
          <p:nvPr/>
        </p:nvSpPr>
        <p:spPr>
          <a:xfrm>
            <a:off x="2236748" y="3853112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Ellipsi 25">
            <a:extLst>
              <a:ext uri="{FF2B5EF4-FFF2-40B4-BE49-F238E27FC236}">
                <a16:creationId xmlns:a16="http://schemas.microsoft.com/office/drawing/2014/main" id="{2D604E57-69B5-4F9C-8F5A-A094C58069A8}"/>
              </a:ext>
            </a:extLst>
          </p:cNvPr>
          <p:cNvSpPr/>
          <p:nvPr/>
        </p:nvSpPr>
        <p:spPr>
          <a:xfrm>
            <a:off x="4809598" y="1006475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7" name="Ellipsi 26">
            <a:extLst>
              <a:ext uri="{FF2B5EF4-FFF2-40B4-BE49-F238E27FC236}">
                <a16:creationId xmlns:a16="http://schemas.microsoft.com/office/drawing/2014/main" id="{0D2D946D-1453-4C00-A306-AB6643524278}"/>
              </a:ext>
            </a:extLst>
          </p:cNvPr>
          <p:cNvSpPr/>
          <p:nvPr/>
        </p:nvSpPr>
        <p:spPr>
          <a:xfrm>
            <a:off x="4832548" y="4456820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8" name="Ellipsi 27">
            <a:extLst>
              <a:ext uri="{FF2B5EF4-FFF2-40B4-BE49-F238E27FC236}">
                <a16:creationId xmlns:a16="http://schemas.microsoft.com/office/drawing/2014/main" id="{4AC05D89-59A7-466A-A840-0A6AE12E84ED}"/>
              </a:ext>
            </a:extLst>
          </p:cNvPr>
          <p:cNvSpPr/>
          <p:nvPr/>
        </p:nvSpPr>
        <p:spPr>
          <a:xfrm>
            <a:off x="3532976" y="4136425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9" name="Ellipsi 28">
            <a:extLst>
              <a:ext uri="{FF2B5EF4-FFF2-40B4-BE49-F238E27FC236}">
                <a16:creationId xmlns:a16="http://schemas.microsoft.com/office/drawing/2014/main" id="{C34C5764-BE83-4268-811F-3A5EF3C52A75}"/>
              </a:ext>
            </a:extLst>
          </p:cNvPr>
          <p:cNvSpPr/>
          <p:nvPr/>
        </p:nvSpPr>
        <p:spPr>
          <a:xfrm>
            <a:off x="2239797" y="4278854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Ellipsi 29">
            <a:extLst>
              <a:ext uri="{FF2B5EF4-FFF2-40B4-BE49-F238E27FC236}">
                <a16:creationId xmlns:a16="http://schemas.microsoft.com/office/drawing/2014/main" id="{E92D22AB-B6CA-4CBC-930E-51D0DB821A93}"/>
              </a:ext>
            </a:extLst>
          </p:cNvPr>
          <p:cNvSpPr/>
          <p:nvPr/>
        </p:nvSpPr>
        <p:spPr>
          <a:xfrm>
            <a:off x="2236748" y="5069824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Ellipsi 30">
            <a:extLst>
              <a:ext uri="{FF2B5EF4-FFF2-40B4-BE49-F238E27FC236}">
                <a16:creationId xmlns:a16="http://schemas.microsoft.com/office/drawing/2014/main" id="{DE889291-D7D8-4EE7-A59A-96D51A05EA02}"/>
              </a:ext>
            </a:extLst>
          </p:cNvPr>
          <p:cNvSpPr/>
          <p:nvPr/>
        </p:nvSpPr>
        <p:spPr>
          <a:xfrm>
            <a:off x="2249360" y="5446649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Ellipsi 31">
            <a:extLst>
              <a:ext uri="{FF2B5EF4-FFF2-40B4-BE49-F238E27FC236}">
                <a16:creationId xmlns:a16="http://schemas.microsoft.com/office/drawing/2014/main" id="{5A8178C6-F405-49D6-9D94-3FBF79986A21}"/>
              </a:ext>
            </a:extLst>
          </p:cNvPr>
          <p:cNvSpPr/>
          <p:nvPr/>
        </p:nvSpPr>
        <p:spPr>
          <a:xfrm>
            <a:off x="6303139" y="3194628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Ellipsi 32">
            <a:extLst>
              <a:ext uri="{FF2B5EF4-FFF2-40B4-BE49-F238E27FC236}">
                <a16:creationId xmlns:a16="http://schemas.microsoft.com/office/drawing/2014/main" id="{DE91603B-1B1F-4EA3-9DA7-F88C78D5A58B}"/>
              </a:ext>
            </a:extLst>
          </p:cNvPr>
          <p:cNvSpPr/>
          <p:nvPr/>
        </p:nvSpPr>
        <p:spPr>
          <a:xfrm>
            <a:off x="4818195" y="5641926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4" name="Ellipsi 33">
            <a:extLst>
              <a:ext uri="{FF2B5EF4-FFF2-40B4-BE49-F238E27FC236}">
                <a16:creationId xmlns:a16="http://schemas.microsoft.com/office/drawing/2014/main" id="{E0CAA853-63F9-4AAA-B9E6-3836617ACB3F}"/>
              </a:ext>
            </a:extLst>
          </p:cNvPr>
          <p:cNvSpPr/>
          <p:nvPr/>
        </p:nvSpPr>
        <p:spPr>
          <a:xfrm>
            <a:off x="4809598" y="1162153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Ellipsi 37">
            <a:extLst>
              <a:ext uri="{FF2B5EF4-FFF2-40B4-BE49-F238E27FC236}">
                <a16:creationId xmlns:a16="http://schemas.microsoft.com/office/drawing/2014/main" id="{A1EE8E8A-B25D-487E-8DA7-2A529FB88987}"/>
              </a:ext>
            </a:extLst>
          </p:cNvPr>
          <p:cNvSpPr/>
          <p:nvPr/>
        </p:nvSpPr>
        <p:spPr>
          <a:xfrm>
            <a:off x="3525257" y="6500357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Ellipsi 27">
            <a:extLst>
              <a:ext uri="{FF2B5EF4-FFF2-40B4-BE49-F238E27FC236}">
                <a16:creationId xmlns:a16="http://schemas.microsoft.com/office/drawing/2014/main" id="{B09AF32C-401D-4778-ADCE-7D0AFEEF0A18}"/>
              </a:ext>
            </a:extLst>
          </p:cNvPr>
          <p:cNvSpPr/>
          <p:nvPr/>
        </p:nvSpPr>
        <p:spPr>
          <a:xfrm>
            <a:off x="8128350" y="331220"/>
            <a:ext cx="155678" cy="1556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9A6465-113F-4ED3-8AA5-87B4BAB394E5}"/>
              </a:ext>
            </a:extLst>
          </p:cNvPr>
          <p:cNvSpPr txBox="1"/>
          <p:nvPr/>
        </p:nvSpPr>
        <p:spPr>
          <a:xfrm>
            <a:off x="8284028" y="270559"/>
            <a:ext cx="2193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Digitalisaatiot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1D7D49-007C-48F3-B371-1F6055D1B378}"/>
              </a:ext>
            </a:extLst>
          </p:cNvPr>
          <p:cNvSpPr txBox="1"/>
          <p:nvPr/>
        </p:nvSpPr>
        <p:spPr>
          <a:xfrm>
            <a:off x="3157590" y="348398"/>
            <a:ext cx="2193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(Havainnekuva)</a:t>
            </a:r>
          </a:p>
        </p:txBody>
      </p:sp>
    </p:spTree>
    <p:extLst>
      <p:ext uri="{BB962C8B-B14F-4D97-AF65-F5344CB8AC3E}">
        <p14:creationId xmlns:p14="http://schemas.microsoft.com/office/powerpoint/2010/main" val="41258499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27ECE2A-0BA1-49EF-A0B0-8DF8335E2F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Digitalisaation johtamisen mallit</a:t>
            </a:r>
          </a:p>
        </p:txBody>
      </p:sp>
    </p:spTree>
    <p:extLst>
      <p:ext uri="{BB962C8B-B14F-4D97-AF65-F5344CB8AC3E}">
        <p14:creationId xmlns:p14="http://schemas.microsoft.com/office/powerpoint/2010/main" val="33274607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0A856-66BF-4A4D-BE4B-CFA378D98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31466"/>
            <a:ext cx="10846981" cy="1500936"/>
          </a:xfrm>
        </p:spPr>
        <p:txBody>
          <a:bodyPr/>
          <a:lstStyle/>
          <a:p>
            <a:r>
              <a:rPr lang="fi-FI" dirty="0"/>
              <a:t>Toimeksiannosta syntyneet mallit</a:t>
            </a:r>
            <a:br>
              <a:rPr lang="fi-FI" dirty="0"/>
            </a:br>
            <a:r>
              <a:rPr lang="fi-FI" dirty="0"/>
              <a:t>- yhteenvet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1B6DD0-3F93-B74E-9DFE-D771B099C1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561" y="3043353"/>
            <a:ext cx="2668330" cy="15009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F38445-21E3-9143-8209-93C93EC35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1463" y="3043353"/>
            <a:ext cx="2668332" cy="15009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78A9851-179B-3F6F-7114-B70AAD7702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97271" y="3043352"/>
            <a:ext cx="2668330" cy="15009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9F410A-89E7-2B6E-9EA2-23AAE683B98C}"/>
              </a:ext>
            </a:extLst>
          </p:cNvPr>
          <p:cNvSpPr txBox="1"/>
          <p:nvPr/>
        </p:nvSpPr>
        <p:spPr>
          <a:xfrm>
            <a:off x="261714" y="4818103"/>
            <a:ext cx="275202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asoajattelu auttaa tunnistamaan 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kuvaamaan digijohtamisen roolit ja vastuut oikeil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johtamisen tasoill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E28AAE-1EC1-C169-91C0-FBA8676CF8CE}"/>
              </a:ext>
            </a:extLst>
          </p:cNvPr>
          <p:cNvSpPr txBox="1"/>
          <p:nvPr/>
        </p:nvSpPr>
        <p:spPr>
          <a:xfrm>
            <a:off x="3217772" y="4818103"/>
            <a:ext cx="275202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toimisto 2.0 toimii vahvana ja kyvykkäänä digitalisaation kiihdyttäjänä läpi koko organisa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2E0782-EDA7-59DE-ECB4-23CEA9C0215C}"/>
              </a:ext>
            </a:extLst>
          </p:cNvPr>
          <p:cNvSpPr txBox="1"/>
          <p:nvPr/>
        </p:nvSpPr>
        <p:spPr>
          <a:xfrm>
            <a:off x="6087373" y="4818103"/>
            <a:ext cx="288299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ohjelman ohjausryhmä keskittyy digitalisaation erityiskysymyksiin toimien vahvassa sidoksessa johtoon, sekä kehittämistoiminto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6AB563-7177-52DB-C33F-4FC41B81272B}"/>
              </a:ext>
            </a:extLst>
          </p:cNvPr>
          <p:cNvSpPr txBox="1"/>
          <p:nvPr/>
        </p:nvSpPr>
        <p:spPr>
          <a:xfrm>
            <a:off x="9087946" y="4818103"/>
            <a:ext cx="28829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kehittämisen malli ottaa huomioon digikehittämisen erityispiirteet hyödyntäen palvelumuotoilun </a:t>
            </a:r>
            <a:r>
              <a:rPr kumimoji="0" lang="fi-FI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etodeita</a:t>
            </a: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7031FF-1972-C0F7-D02F-48B34A092820}"/>
              </a:ext>
            </a:extLst>
          </p:cNvPr>
          <p:cNvSpPr txBox="1"/>
          <p:nvPr/>
        </p:nvSpPr>
        <p:spPr>
          <a:xfrm>
            <a:off x="303562" y="2461364"/>
            <a:ext cx="266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johtamisen taso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61B844-9F96-CF54-4E0E-2940E0A24C72}"/>
              </a:ext>
            </a:extLst>
          </p:cNvPr>
          <p:cNvSpPr txBox="1"/>
          <p:nvPr/>
        </p:nvSpPr>
        <p:spPr>
          <a:xfrm>
            <a:off x="3259618" y="2461364"/>
            <a:ext cx="266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toimisto 2.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2B257E-B349-1154-D213-4C9ED187C697}"/>
              </a:ext>
            </a:extLst>
          </p:cNvPr>
          <p:cNvSpPr txBox="1"/>
          <p:nvPr/>
        </p:nvSpPr>
        <p:spPr>
          <a:xfrm>
            <a:off x="6194705" y="2448112"/>
            <a:ext cx="288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ohjelman ohjausryhmä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EDBDF1-D1F1-EA19-9D69-160E09F22540}"/>
              </a:ext>
            </a:extLst>
          </p:cNvPr>
          <p:cNvSpPr txBox="1"/>
          <p:nvPr/>
        </p:nvSpPr>
        <p:spPr>
          <a:xfrm>
            <a:off x="9195280" y="2448112"/>
            <a:ext cx="2668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kehittämisen malli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D5876C-1F46-A8EE-01E1-BA9D0E32CE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9367" y="3043352"/>
            <a:ext cx="2668332" cy="15009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2195914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27ECE2A-0BA1-49EF-A0B0-8DF8335E2F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41701" y="2281969"/>
            <a:ext cx="6559064" cy="2779834"/>
          </a:xfrm>
        </p:spPr>
        <p:txBody>
          <a:bodyPr>
            <a:normAutofit/>
          </a:bodyPr>
          <a:lstStyle/>
          <a:p>
            <a:r>
              <a:rPr lang="fi-FI" sz="5900" dirty="0"/>
              <a:t>Tasoajattelu digijohtamisessa</a:t>
            </a:r>
          </a:p>
        </p:txBody>
      </p:sp>
    </p:spTree>
    <p:extLst>
      <p:ext uri="{BB962C8B-B14F-4D97-AF65-F5344CB8AC3E}">
        <p14:creationId xmlns:p14="http://schemas.microsoft.com/office/powerpoint/2010/main" val="19348111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8960C29-1AEE-47C4-9E7D-F330178BD4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09716"/>
            <a:ext cx="9655277" cy="1231490"/>
          </a:xfrm>
        </p:spPr>
        <p:txBody>
          <a:bodyPr/>
          <a:lstStyle/>
          <a:p>
            <a:r>
              <a:rPr lang="fi-FI" dirty="0"/>
              <a:t>Digijohtamisen tasot</a:t>
            </a:r>
          </a:p>
        </p:txBody>
      </p:sp>
      <p:graphicFrame>
        <p:nvGraphicFramePr>
          <p:cNvPr id="6" name="Kaaviokuva 5">
            <a:extLst>
              <a:ext uri="{FF2B5EF4-FFF2-40B4-BE49-F238E27FC236}">
                <a16:creationId xmlns:a16="http://schemas.microsoft.com/office/drawing/2014/main" id="{4FBBC812-980F-824D-9900-BF334C8A8635}"/>
              </a:ext>
            </a:extLst>
          </p:cNvPr>
          <p:cNvGraphicFramePr/>
          <p:nvPr/>
        </p:nvGraphicFramePr>
        <p:xfrm>
          <a:off x="531962" y="2006074"/>
          <a:ext cx="4762500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uora nuoliyhdysviiva 257">
            <a:extLst>
              <a:ext uri="{FF2B5EF4-FFF2-40B4-BE49-F238E27FC236}">
                <a16:creationId xmlns:a16="http://schemas.microsoft.com/office/drawing/2014/main" id="{B2B06F6C-6BD4-9043-B8DF-1E02C37347E0}"/>
              </a:ext>
            </a:extLst>
          </p:cNvPr>
          <p:cNvCxnSpPr/>
          <p:nvPr/>
        </p:nvCxnSpPr>
        <p:spPr>
          <a:xfrm flipH="1">
            <a:off x="464390" y="2015420"/>
            <a:ext cx="2360041" cy="35957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iruutu 258">
            <a:extLst>
              <a:ext uri="{FF2B5EF4-FFF2-40B4-BE49-F238E27FC236}">
                <a16:creationId xmlns:a16="http://schemas.microsoft.com/office/drawing/2014/main" id="{B5F33784-C410-6A49-AABE-FA25B3E7D090}"/>
              </a:ext>
            </a:extLst>
          </p:cNvPr>
          <p:cNvSpPr txBox="1"/>
          <p:nvPr/>
        </p:nvSpPr>
        <p:spPr>
          <a:xfrm rot="18180000">
            <a:off x="126341" y="3652047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unta ja odotukset</a:t>
            </a:r>
          </a:p>
        </p:txBody>
      </p:sp>
      <p:sp>
        <p:nvSpPr>
          <p:cNvPr id="9" name="Tekstiruutu 260">
            <a:extLst>
              <a:ext uri="{FF2B5EF4-FFF2-40B4-BE49-F238E27FC236}">
                <a16:creationId xmlns:a16="http://schemas.microsoft.com/office/drawing/2014/main" id="{893F8EB9-CD9B-B643-984E-0739A2FDF858}"/>
              </a:ext>
            </a:extLst>
          </p:cNvPr>
          <p:cNvSpPr txBox="1"/>
          <p:nvPr/>
        </p:nvSpPr>
        <p:spPr>
          <a:xfrm rot="3420000">
            <a:off x="3009001" y="3698773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okset ja tuotokset</a:t>
            </a:r>
          </a:p>
        </p:txBody>
      </p:sp>
      <p:cxnSp>
        <p:nvCxnSpPr>
          <p:cNvPr id="10" name="Suora nuoliyhdysviiva 261">
            <a:extLst>
              <a:ext uri="{FF2B5EF4-FFF2-40B4-BE49-F238E27FC236}">
                <a16:creationId xmlns:a16="http://schemas.microsoft.com/office/drawing/2014/main" id="{A002BADB-C9F7-0546-86C6-A4444C9D51AE}"/>
              </a:ext>
            </a:extLst>
          </p:cNvPr>
          <p:cNvCxnSpPr>
            <a:cxnSpLocks/>
          </p:cNvCxnSpPr>
          <p:nvPr/>
        </p:nvCxnSpPr>
        <p:spPr>
          <a:xfrm flipH="1" flipV="1">
            <a:off x="3009182" y="2031233"/>
            <a:ext cx="2334881" cy="3592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iruutu 262">
            <a:extLst>
              <a:ext uri="{FF2B5EF4-FFF2-40B4-BE49-F238E27FC236}">
                <a16:creationId xmlns:a16="http://schemas.microsoft.com/office/drawing/2014/main" id="{737CD205-C9F2-1C4B-AAA6-AA3251240627}"/>
              </a:ext>
            </a:extLst>
          </p:cNvPr>
          <p:cNvSpPr txBox="1"/>
          <p:nvPr/>
        </p:nvSpPr>
        <p:spPr>
          <a:xfrm>
            <a:off x="1470623" y="5826622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eminen</a:t>
            </a: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uora nuoliyhdysviiva 263">
            <a:extLst>
              <a:ext uri="{FF2B5EF4-FFF2-40B4-BE49-F238E27FC236}">
                <a16:creationId xmlns:a16="http://schemas.microsoft.com/office/drawing/2014/main" id="{1C2705E6-94D4-534A-9916-05BE3262F0E4}"/>
              </a:ext>
            </a:extLst>
          </p:cNvPr>
          <p:cNvCxnSpPr/>
          <p:nvPr/>
        </p:nvCxnSpPr>
        <p:spPr>
          <a:xfrm>
            <a:off x="561796" y="5802056"/>
            <a:ext cx="4670484" cy="503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09B7343-98C6-CB4F-9559-1989F1B517AD}"/>
              </a:ext>
            </a:extLst>
          </p:cNvPr>
          <p:cNvSpPr txBox="1"/>
          <p:nvPr/>
        </p:nvSpPr>
        <p:spPr>
          <a:xfrm>
            <a:off x="5361297" y="2275934"/>
            <a:ext cx="34761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strategian omistajuus ”</a:t>
            </a:r>
            <a:r>
              <a:rPr kumimoji="0" lang="fi-FI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lä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Savon SOTE Digitarina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sten teemojen ja mittareiden muodostamin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aliitännät muihin toimintastrategioih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un omistajuu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unnittelujänne 2-3 vuot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68844F-2BB5-AC44-A99E-6FA2F4CD6B09}"/>
              </a:ext>
            </a:extLst>
          </p:cNvPr>
          <p:cNvSpPr txBox="1"/>
          <p:nvPr/>
        </p:nvSpPr>
        <p:spPr>
          <a:xfrm>
            <a:off x="5361294" y="3399983"/>
            <a:ext cx="43807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an jalkauttaminen ja konkretisoi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emoista johdettujen projektien ohjau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un operatiivinen hallinta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sen päätöksenteon tuk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tien operatiivinen priorisoi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ysputken omistajuus (Ideasta tuotantoon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kkutason kustannusten hallin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unnittelujänne 12 kuukaut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14A1FC-6A1E-9949-8D8A-0626BEE0466B}"/>
              </a:ext>
            </a:extLst>
          </p:cNvPr>
          <p:cNvSpPr txBox="1"/>
          <p:nvPr/>
        </p:nvSpPr>
        <p:spPr>
          <a:xfrm>
            <a:off x="5361293" y="4924571"/>
            <a:ext cx="438076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tien operatiivinen johtamin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tämisen prosessit ja backlogin hallin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imittajien hallin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tkuvat palvel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unnnittelujänne</a:t>
            </a: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kuukaus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CC54E48-C17F-3440-ADC6-7AC617787629}"/>
              </a:ext>
            </a:extLst>
          </p:cNvPr>
          <p:cNvSpPr txBox="1"/>
          <p:nvPr/>
        </p:nvSpPr>
        <p:spPr>
          <a:xfrm>
            <a:off x="5364630" y="1909810"/>
            <a:ext cx="7433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B13987-F472-B346-946A-B33B5B49325D}"/>
              </a:ext>
            </a:extLst>
          </p:cNvPr>
          <p:cNvSpPr txBox="1"/>
          <p:nvPr/>
        </p:nvSpPr>
        <p:spPr>
          <a:xfrm>
            <a:off x="8532931" y="1869563"/>
            <a:ext cx="13936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hjaavat Roolit*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0ACECD-9882-E844-8C86-1181B55511DF}"/>
              </a:ext>
            </a:extLst>
          </p:cNvPr>
          <p:cNvSpPr txBox="1"/>
          <p:nvPr/>
        </p:nvSpPr>
        <p:spPr>
          <a:xfrm>
            <a:off x="8585536" y="2269854"/>
            <a:ext cx="21870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salkun ohjausryhmä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7A3700-CE15-AC43-AF3E-A7CE6E7860C4}"/>
              </a:ext>
            </a:extLst>
          </p:cNvPr>
          <p:cNvSpPr txBox="1"/>
          <p:nvPr/>
        </p:nvSpPr>
        <p:spPr>
          <a:xfrm>
            <a:off x="8532931" y="3748276"/>
            <a:ext cx="21870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C833A9B-F304-A244-8179-369C586075DA}"/>
              </a:ext>
            </a:extLst>
          </p:cNvPr>
          <p:cNvSpPr txBox="1"/>
          <p:nvPr/>
        </p:nvSpPr>
        <p:spPr>
          <a:xfrm>
            <a:off x="8561353" y="5121758"/>
            <a:ext cx="21870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1BFAA1-23B4-AD7D-7868-3DA15881B673}"/>
              </a:ext>
            </a:extLst>
          </p:cNvPr>
          <p:cNvSpPr/>
          <p:nvPr/>
        </p:nvSpPr>
        <p:spPr>
          <a:xfrm>
            <a:off x="561797" y="6170005"/>
            <a:ext cx="11029190" cy="5572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johtamista tapahtuu eri tasoilla. Oleellista on tunnistaa eri tasoilla toimivat roolit ja niihin liittyvät vastuut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8D9899-5187-FEB8-35B8-1D19A5A7F96F}"/>
              </a:ext>
            </a:extLst>
          </p:cNvPr>
          <p:cNvSpPr txBox="1"/>
          <p:nvPr/>
        </p:nvSpPr>
        <p:spPr>
          <a:xfrm>
            <a:off x="8087933" y="190603"/>
            <a:ext cx="36374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= roolit esimerkinomaisia ja sovitettava organisaation tarpeisiin toteutusvaiheess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0AC9D0-959D-363B-76D1-2727EE80A4A0}"/>
              </a:ext>
            </a:extLst>
          </p:cNvPr>
          <p:cNvSpPr txBox="1"/>
          <p:nvPr/>
        </p:nvSpPr>
        <p:spPr>
          <a:xfrm>
            <a:off x="10331755" y="1866309"/>
            <a:ext cx="13937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äättävät roolit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C3A3EE0-DFD4-AC62-45DD-F755142ECB2C}"/>
              </a:ext>
            </a:extLst>
          </p:cNvPr>
          <p:cNvSpPr txBox="1"/>
          <p:nvPr/>
        </p:nvSpPr>
        <p:spPr>
          <a:xfrm>
            <a:off x="10384360" y="2250365"/>
            <a:ext cx="21870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tayhtymän </a:t>
            </a:r>
            <a:r>
              <a:rPr kumimoji="0" lang="fi-FI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ry</a:t>
            </a: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FDD25EF-B2F2-49AC-87E4-F726981B12F5}"/>
              </a:ext>
            </a:extLst>
          </p:cNvPr>
          <p:cNvSpPr txBox="1"/>
          <p:nvPr/>
        </p:nvSpPr>
        <p:spPr>
          <a:xfrm>
            <a:off x="10331755" y="3728787"/>
            <a:ext cx="21870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salkun ohjausryhmä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0AC0F1-F9D5-0D2D-A889-D4ECF2447493}"/>
              </a:ext>
            </a:extLst>
          </p:cNvPr>
          <p:cNvSpPr txBox="1"/>
          <p:nvPr/>
        </p:nvSpPr>
        <p:spPr>
          <a:xfrm>
            <a:off x="10360177" y="5102269"/>
            <a:ext cx="21870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</p:txBody>
      </p:sp>
    </p:spTree>
    <p:extLst>
      <p:ext uri="{BB962C8B-B14F-4D97-AF65-F5344CB8AC3E}">
        <p14:creationId xmlns:p14="http://schemas.microsoft.com/office/powerpoint/2010/main" val="41809905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0A522-09AB-EF4C-B2A9-46F392E41D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Digitoimisto ”2.0”</a:t>
            </a:r>
          </a:p>
        </p:txBody>
      </p:sp>
    </p:spTree>
    <p:extLst>
      <p:ext uri="{BB962C8B-B14F-4D97-AF65-F5344CB8AC3E}">
        <p14:creationId xmlns:p14="http://schemas.microsoft.com/office/powerpoint/2010/main" val="39558049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EB6EB43-8843-4211-9157-51B097A10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7800" y="-269702"/>
            <a:ext cx="6756400" cy="1500936"/>
          </a:xfrm>
        </p:spPr>
        <p:txBody>
          <a:bodyPr/>
          <a:lstStyle/>
          <a:p>
            <a:pPr algn="ctr"/>
            <a:r>
              <a:rPr lang="fi-FI" dirty="0"/>
              <a:t>Kuntayhtymä lyhyesti</a:t>
            </a:r>
          </a:p>
        </p:txBody>
      </p:sp>
    </p:spTree>
    <p:extLst>
      <p:ext uri="{BB962C8B-B14F-4D97-AF65-F5344CB8AC3E}">
        <p14:creationId xmlns:p14="http://schemas.microsoft.com/office/powerpoint/2010/main" val="36588254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E21D3-4C8A-7840-9783-43371C174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03388"/>
            <a:ext cx="11219329" cy="1500936"/>
          </a:xfrm>
        </p:spPr>
        <p:txBody>
          <a:bodyPr/>
          <a:lstStyle/>
          <a:p>
            <a:r>
              <a:rPr lang="fi-FI" dirty="0"/>
              <a:t>Digitoimiston ominaispiirteitä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D639CC5A-6C65-4D41-851D-96BDBB800CBA}"/>
              </a:ext>
            </a:extLst>
          </p:cNvPr>
          <p:cNvSpPr txBox="1">
            <a:spLocks/>
          </p:cNvSpPr>
          <p:nvPr/>
        </p:nvSpPr>
        <p:spPr>
          <a:xfrm>
            <a:off x="874713" y="2548276"/>
            <a:ext cx="5040312" cy="35810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nnakoiva uudistavien ratkaisujen tutkij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strategian eteenpäin vievä voim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kehitysverkoston ylläpitäjä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lvelujen uudistumisen kiihdyttäjä ennakoinnin ja kokeilujen avull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hmiskeskeisten digiratkaisujen mahdollistaj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taalisten aloitteiden priorisoija ja </a:t>
            </a:r>
            <a:r>
              <a:rPr kumimoji="0" lang="fi-FI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onseptoija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hankkeiden konsultoiva tuki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8094CAC-A108-D04D-AD43-41432DD7F6C5}"/>
              </a:ext>
            </a:extLst>
          </p:cNvPr>
          <p:cNvSpPr txBox="1">
            <a:spLocks/>
          </p:cNvSpPr>
          <p:nvPr/>
        </p:nvSpPr>
        <p:spPr>
          <a:xfrm>
            <a:off x="6276975" y="2548276"/>
            <a:ext cx="5040312" cy="35810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Yksittäisten digitaalisten ratkaisujen omistaj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Operatiivinen palveluiden ylläpitäjä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taalisten ratkaisujen tukiorganisaati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taalisten ratkaisujen toteuttaj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äätöksentekoeli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orvaava toimielin tietohallinnol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49F16E6-541E-1C44-AA2F-563044CD91AE}"/>
              </a:ext>
            </a:extLst>
          </p:cNvPr>
          <p:cNvSpPr txBox="1">
            <a:spLocks/>
          </p:cNvSpPr>
          <p:nvPr/>
        </p:nvSpPr>
        <p:spPr>
          <a:xfrm>
            <a:off x="874713" y="2099750"/>
            <a:ext cx="5040312" cy="3730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toimisto on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6D77EC4-106C-7242-9568-2BAEC0CB1082}"/>
              </a:ext>
            </a:extLst>
          </p:cNvPr>
          <p:cNvSpPr txBox="1">
            <a:spLocks/>
          </p:cNvSpPr>
          <p:nvPr/>
        </p:nvSpPr>
        <p:spPr>
          <a:xfrm>
            <a:off x="6276975" y="2099750"/>
            <a:ext cx="5040312" cy="37306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Lato" panose="020F05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igitoimisto ei ole</a:t>
            </a:r>
          </a:p>
        </p:txBody>
      </p:sp>
    </p:spTree>
    <p:extLst>
      <p:ext uri="{BB962C8B-B14F-4D97-AF65-F5344CB8AC3E}">
        <p14:creationId xmlns:p14="http://schemas.microsoft.com/office/powerpoint/2010/main" val="12619051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94F7B-DAA0-7F47-A077-7F2B51137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694" y="239247"/>
            <a:ext cx="10923494" cy="1500936"/>
          </a:xfrm>
        </p:spPr>
        <p:txBody>
          <a:bodyPr/>
          <a:lstStyle/>
          <a:p>
            <a:r>
              <a:rPr lang="fi-FI" dirty="0"/>
              <a:t>Digitoimistolla vahva rooli ”digikiihdyttäjänä”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50BA6B-0704-C042-8F6A-8A43779EF000}"/>
              </a:ext>
            </a:extLst>
          </p:cNvPr>
          <p:cNvSpPr/>
          <p:nvPr/>
        </p:nvSpPr>
        <p:spPr>
          <a:xfrm>
            <a:off x="1749802" y="2417360"/>
            <a:ext cx="8849277" cy="35518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htoryhmä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EEE00D-7508-DD41-871E-55ED5C447361}"/>
              </a:ext>
            </a:extLst>
          </p:cNvPr>
          <p:cNvSpPr/>
          <p:nvPr/>
        </p:nvSpPr>
        <p:spPr>
          <a:xfrm>
            <a:off x="1749803" y="3535799"/>
            <a:ext cx="1065541" cy="4534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alu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C52372C-E659-7A41-BA1B-4C1D9A41F8D4}"/>
              </a:ext>
            </a:extLst>
          </p:cNvPr>
          <p:cNvSpPr/>
          <p:nvPr/>
        </p:nvSpPr>
        <p:spPr>
          <a:xfrm>
            <a:off x="1749803" y="4126506"/>
            <a:ext cx="1065541" cy="4534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alu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696AAB-079C-6B44-91C8-668844A07E42}"/>
              </a:ext>
            </a:extLst>
          </p:cNvPr>
          <p:cNvSpPr/>
          <p:nvPr/>
        </p:nvSpPr>
        <p:spPr>
          <a:xfrm>
            <a:off x="1749803" y="4717213"/>
            <a:ext cx="1065541" cy="4534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alu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A9BD6E-3C56-3C43-9528-36E12E8F69C9}"/>
              </a:ext>
            </a:extLst>
          </p:cNvPr>
          <p:cNvSpPr/>
          <p:nvPr/>
        </p:nvSpPr>
        <p:spPr>
          <a:xfrm>
            <a:off x="1749802" y="5307920"/>
            <a:ext cx="1065541" cy="4534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alu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D35881-F855-A446-B298-F10440B063E4}"/>
              </a:ext>
            </a:extLst>
          </p:cNvPr>
          <p:cNvSpPr/>
          <p:nvPr/>
        </p:nvSpPr>
        <p:spPr>
          <a:xfrm>
            <a:off x="3631502" y="3535799"/>
            <a:ext cx="6967577" cy="222554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A49CCD-94B9-6949-87BA-CDC1109936A4}"/>
              </a:ext>
            </a:extLst>
          </p:cNvPr>
          <p:cNvSpPr/>
          <p:nvPr/>
        </p:nvSpPr>
        <p:spPr>
          <a:xfrm>
            <a:off x="3631502" y="3019404"/>
            <a:ext cx="6967577" cy="2594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ohjausryhmä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E2037F1-EB21-AD41-A56E-01D9C686E16B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2815344" y="3762510"/>
            <a:ext cx="816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B49D471-0783-5B41-A983-D70DBD0366A1}"/>
              </a:ext>
            </a:extLst>
          </p:cNvPr>
          <p:cNvCxnSpPr>
            <a:cxnSpLocks/>
          </p:cNvCxnSpPr>
          <p:nvPr/>
        </p:nvCxnSpPr>
        <p:spPr>
          <a:xfrm>
            <a:off x="2815344" y="4345660"/>
            <a:ext cx="816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D85611F-69CF-C74A-AB9C-3FC36C47DD01}"/>
              </a:ext>
            </a:extLst>
          </p:cNvPr>
          <p:cNvCxnSpPr>
            <a:cxnSpLocks/>
          </p:cNvCxnSpPr>
          <p:nvPr/>
        </p:nvCxnSpPr>
        <p:spPr>
          <a:xfrm>
            <a:off x="2815344" y="4942665"/>
            <a:ext cx="816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762611E5-023A-4D46-8D08-6A4D0A1665A2}"/>
              </a:ext>
            </a:extLst>
          </p:cNvPr>
          <p:cNvCxnSpPr>
            <a:cxnSpLocks/>
          </p:cNvCxnSpPr>
          <p:nvPr/>
        </p:nvCxnSpPr>
        <p:spPr>
          <a:xfrm>
            <a:off x="2815344" y="5554784"/>
            <a:ext cx="81615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2C45FB4-EC9F-3B47-B932-96378B0FA354}"/>
              </a:ext>
            </a:extLst>
          </p:cNvPr>
          <p:cNvCxnSpPr>
            <a:cxnSpLocks/>
            <a:stCxn id="9" idx="0"/>
            <a:endCxn id="10" idx="2"/>
          </p:cNvCxnSpPr>
          <p:nvPr/>
        </p:nvCxnSpPr>
        <p:spPr>
          <a:xfrm flipV="1">
            <a:off x="7115291" y="3278860"/>
            <a:ext cx="0" cy="25693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AD2A9FA-1A84-D647-8CDB-EB38579D93FB}"/>
              </a:ext>
            </a:extLst>
          </p:cNvPr>
          <p:cNvCxnSpPr>
            <a:cxnSpLocks/>
            <a:endCxn id="4" idx="2"/>
          </p:cNvCxnSpPr>
          <p:nvPr/>
        </p:nvCxnSpPr>
        <p:spPr>
          <a:xfrm flipV="1">
            <a:off x="6174441" y="2772540"/>
            <a:ext cx="0" cy="25945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862C2B4C-4B99-C943-99D8-54711594DBA4}"/>
              </a:ext>
            </a:extLst>
          </p:cNvPr>
          <p:cNvCxnSpPr>
            <a:stCxn id="8" idx="2"/>
            <a:endCxn id="10" idx="1"/>
          </p:cNvCxnSpPr>
          <p:nvPr/>
        </p:nvCxnSpPr>
        <p:spPr>
          <a:xfrm rot="5400000" flipH="1" flipV="1">
            <a:off x="1650932" y="3780772"/>
            <a:ext cx="2612209" cy="1348929"/>
          </a:xfrm>
          <a:prstGeom prst="bentConnector4">
            <a:avLst>
              <a:gd name="adj1" fmla="val 20179"/>
              <a:gd name="adj2" fmla="val -28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2CD6BAA-1A4C-EA4A-9AC1-E1C77C667E2F}"/>
              </a:ext>
            </a:extLst>
          </p:cNvPr>
          <p:cNvSpPr txBox="1"/>
          <p:nvPr/>
        </p:nvSpPr>
        <p:spPr>
          <a:xfrm>
            <a:off x="6478509" y="3515979"/>
            <a:ext cx="1312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5E198A-6EF7-FC46-9146-6FE734E045F5}"/>
              </a:ext>
            </a:extLst>
          </p:cNvPr>
          <p:cNvSpPr/>
          <p:nvPr/>
        </p:nvSpPr>
        <p:spPr>
          <a:xfrm>
            <a:off x="3899665" y="4066289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salku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llinta ja raportointi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AB8E35-DBC6-FA4E-BA17-09593FFC86C1}"/>
              </a:ext>
            </a:extLst>
          </p:cNvPr>
          <p:cNvSpPr/>
          <p:nvPr/>
        </p:nvSpPr>
        <p:spPr>
          <a:xfrm>
            <a:off x="5188210" y="4998753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-ideoid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septoint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6A6A9C4-023A-6B4B-AB21-50C5AE9D8702}"/>
              </a:ext>
            </a:extLst>
          </p:cNvPr>
          <p:cNvSpPr/>
          <p:nvPr/>
        </p:nvSpPr>
        <p:spPr>
          <a:xfrm>
            <a:off x="6476755" y="4060621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stajuus 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urant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6D78CC-BC55-4641-B6DE-C9830333FFA3}"/>
              </a:ext>
            </a:extLst>
          </p:cNvPr>
          <p:cNvSpPr/>
          <p:nvPr/>
        </p:nvSpPr>
        <p:spPr>
          <a:xfrm>
            <a:off x="7765300" y="4993714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verkost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htamine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83AE18-35C1-1546-9411-37545CD97520}"/>
              </a:ext>
            </a:extLst>
          </p:cNvPr>
          <p:cNvSpPr/>
          <p:nvPr/>
        </p:nvSpPr>
        <p:spPr>
          <a:xfrm>
            <a:off x="7765300" y="4058581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ransformaation johtamine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5B223D0-3FD6-B94C-86E0-7A8858B4FCF4}"/>
              </a:ext>
            </a:extLst>
          </p:cNvPr>
          <p:cNvSpPr/>
          <p:nvPr/>
        </p:nvSpPr>
        <p:spPr>
          <a:xfrm>
            <a:off x="5188210" y="4060621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OH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kousfasilitointi</a:t>
            </a: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3401F68-AC2B-7A4A-AC01-CB447BAF9E79}"/>
              </a:ext>
            </a:extLst>
          </p:cNvPr>
          <p:cNvCxnSpPr>
            <a:stCxn id="9" idx="1"/>
            <a:endCxn id="9" idx="3"/>
          </p:cNvCxnSpPr>
          <p:nvPr/>
        </p:nvCxnSpPr>
        <p:spPr>
          <a:xfrm>
            <a:off x="3631502" y="4648570"/>
            <a:ext cx="6967577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B0BF1CB-1F1B-4943-9BA5-C02E0B26F46E}"/>
              </a:ext>
            </a:extLst>
          </p:cNvPr>
          <p:cNvSpPr/>
          <p:nvPr/>
        </p:nvSpPr>
        <p:spPr>
          <a:xfrm>
            <a:off x="6482494" y="4993714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ärkevyystarkastel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 KH-analyysin tuk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0A265B-B866-3145-924C-5541F2ED4BFB}"/>
              </a:ext>
            </a:extLst>
          </p:cNvPr>
          <p:cNvSpPr/>
          <p:nvPr/>
        </p:nvSpPr>
        <p:spPr>
          <a:xfrm>
            <a:off x="9048106" y="4993714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utoksenhallin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1AAE2D-4B3B-6946-92EE-D9AC63288C68}"/>
              </a:ext>
            </a:extLst>
          </p:cNvPr>
          <p:cNvSpPr txBox="1"/>
          <p:nvPr/>
        </p:nvSpPr>
        <p:spPr>
          <a:xfrm>
            <a:off x="9460626" y="3733930"/>
            <a:ext cx="11384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nen rool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5FDD5F-2E92-A043-BEAE-7B7435A336FD}"/>
              </a:ext>
            </a:extLst>
          </p:cNvPr>
          <p:cNvSpPr txBox="1"/>
          <p:nvPr/>
        </p:nvSpPr>
        <p:spPr>
          <a:xfrm>
            <a:off x="9460626" y="4687849"/>
            <a:ext cx="9749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tinen rool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79A8940-0025-E747-B0C7-B7A17C123BCD}"/>
              </a:ext>
            </a:extLst>
          </p:cNvPr>
          <p:cNvSpPr/>
          <p:nvPr/>
        </p:nvSpPr>
        <p:spPr>
          <a:xfrm>
            <a:off x="3913893" y="4992197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oinn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i</a:t>
            </a:r>
          </a:p>
        </p:txBody>
      </p:sp>
      <p:sp>
        <p:nvSpPr>
          <p:cNvPr id="31" name="Cloud 30">
            <a:extLst>
              <a:ext uri="{FF2B5EF4-FFF2-40B4-BE49-F238E27FC236}">
                <a16:creationId xmlns:a16="http://schemas.microsoft.com/office/drawing/2014/main" id="{2C83F215-88CE-014E-A87D-26A63C9BB282}"/>
              </a:ext>
            </a:extLst>
          </p:cNvPr>
          <p:cNvSpPr/>
          <p:nvPr/>
        </p:nvSpPr>
        <p:spPr>
          <a:xfrm>
            <a:off x="16611" y="3163182"/>
            <a:ext cx="1547971" cy="2612209"/>
          </a:xfrm>
          <a:prstGeom prst="cloud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rpe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täjat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EBDFD18-3CF9-2646-A8A1-B0EB5C0D2275}"/>
              </a:ext>
            </a:extLst>
          </p:cNvPr>
          <p:cNvSpPr/>
          <p:nvPr/>
        </p:nvSpPr>
        <p:spPr>
          <a:xfrm>
            <a:off x="9048106" y="4066289"/>
            <a:ext cx="1141111" cy="38415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forumit ja ulkoiset verkostot, teknologiatrendit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1BB8723-1AE0-5348-B426-2AEE3280A858}"/>
              </a:ext>
            </a:extLst>
          </p:cNvPr>
          <p:cNvCxnSpPr>
            <a:endCxn id="5" idx="1"/>
          </p:cNvCxnSpPr>
          <p:nvPr/>
        </p:nvCxnSpPr>
        <p:spPr>
          <a:xfrm flipV="1">
            <a:off x="1555245" y="3762510"/>
            <a:ext cx="194558" cy="604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8DC2B76-7A6C-A245-B786-E4D6D299D1D5}"/>
              </a:ext>
            </a:extLst>
          </p:cNvPr>
          <p:cNvCxnSpPr>
            <a:cxnSpLocks/>
            <a:stCxn id="31" idx="0"/>
            <a:endCxn id="6" idx="1"/>
          </p:cNvCxnSpPr>
          <p:nvPr/>
        </p:nvCxnSpPr>
        <p:spPr>
          <a:xfrm flipV="1">
            <a:off x="1563292" y="4353217"/>
            <a:ext cx="186511" cy="1160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A0EFC05-F5E0-A54B-B43F-B485D7CDBF7D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1554121" y="4790265"/>
            <a:ext cx="195682" cy="153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D53DAEC-C7AA-DD4D-AD57-65B8E8441523}"/>
              </a:ext>
            </a:extLst>
          </p:cNvPr>
          <p:cNvCxnSpPr>
            <a:endCxn id="8" idx="1"/>
          </p:cNvCxnSpPr>
          <p:nvPr/>
        </p:nvCxnSpPr>
        <p:spPr>
          <a:xfrm>
            <a:off x="1258596" y="5382903"/>
            <a:ext cx="491206" cy="1517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85824D4E-D9DF-8D45-9545-E23823C91D53}"/>
              </a:ext>
            </a:extLst>
          </p:cNvPr>
          <p:cNvSpPr/>
          <p:nvPr/>
        </p:nvSpPr>
        <p:spPr>
          <a:xfrm>
            <a:off x="3631502" y="6079157"/>
            <a:ext cx="6967577" cy="3140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tit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56040C35-09FB-F245-81D5-9DD625C94D2B}"/>
              </a:ext>
            </a:extLst>
          </p:cNvPr>
          <p:cNvCxnSpPr>
            <a:stCxn id="8" idx="2"/>
            <a:endCxn id="37" idx="1"/>
          </p:cNvCxnSpPr>
          <p:nvPr/>
        </p:nvCxnSpPr>
        <p:spPr>
          <a:xfrm rot="16200000" flipH="1">
            <a:off x="2719620" y="5324293"/>
            <a:ext cx="474835" cy="134892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6E9F0C71-1055-824E-9D72-3D823AD69B93}"/>
              </a:ext>
            </a:extLst>
          </p:cNvPr>
          <p:cNvSpPr/>
          <p:nvPr/>
        </p:nvSpPr>
        <p:spPr>
          <a:xfrm>
            <a:off x="10965880" y="3535799"/>
            <a:ext cx="1103460" cy="22255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palvelut ja niiden johtamin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ietohallinto)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0785EF-FEFC-114C-8B34-FFE0D40B0C2B}"/>
              </a:ext>
            </a:extLst>
          </p:cNvPr>
          <p:cNvCxnSpPr>
            <a:stCxn id="9" idx="2"/>
            <a:endCxn id="37" idx="0"/>
          </p:cNvCxnSpPr>
          <p:nvPr/>
        </p:nvCxnSpPr>
        <p:spPr>
          <a:xfrm>
            <a:off x="7115291" y="5761341"/>
            <a:ext cx="0" cy="31781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B5FED596-4848-DA4C-9F5A-2C099E81EB00}"/>
              </a:ext>
            </a:extLst>
          </p:cNvPr>
          <p:cNvCxnSpPr>
            <a:cxnSpLocks/>
            <a:stCxn id="37" idx="3"/>
            <a:endCxn id="39" idx="2"/>
          </p:cNvCxnSpPr>
          <p:nvPr/>
        </p:nvCxnSpPr>
        <p:spPr>
          <a:xfrm flipV="1">
            <a:off x="10599079" y="5761339"/>
            <a:ext cx="918531" cy="47483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B5074F9-B75D-0E4F-B65A-33C48AB821DE}"/>
              </a:ext>
            </a:extLst>
          </p:cNvPr>
          <p:cNvCxnSpPr>
            <a:cxnSpLocks/>
            <a:stCxn id="9" idx="3"/>
            <a:endCxn id="39" idx="1"/>
          </p:cNvCxnSpPr>
          <p:nvPr/>
        </p:nvCxnSpPr>
        <p:spPr>
          <a:xfrm flipV="1">
            <a:off x="10599079" y="4648569"/>
            <a:ext cx="366801" cy="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2A0FA27-B366-9842-A8FF-62182751B5B8}"/>
              </a:ext>
            </a:extLst>
          </p:cNvPr>
          <p:cNvSpPr txBox="1"/>
          <p:nvPr/>
        </p:nvSpPr>
        <p:spPr>
          <a:xfrm>
            <a:off x="7115122" y="5789444"/>
            <a:ext cx="15231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kuraportointi</a:t>
            </a:r>
          </a:p>
        </p:txBody>
      </p:sp>
      <p:cxnSp>
        <p:nvCxnSpPr>
          <p:cNvPr id="44" name="Elbow Connector 43">
            <a:extLst>
              <a:ext uri="{FF2B5EF4-FFF2-40B4-BE49-F238E27FC236}">
                <a16:creationId xmlns:a16="http://schemas.microsoft.com/office/drawing/2014/main" id="{5DAFE76B-D490-7548-9ABD-45CEC79A00E3}"/>
              </a:ext>
            </a:extLst>
          </p:cNvPr>
          <p:cNvCxnSpPr>
            <a:stCxn id="39" idx="0"/>
            <a:endCxn id="10" idx="3"/>
          </p:cNvCxnSpPr>
          <p:nvPr/>
        </p:nvCxnSpPr>
        <p:spPr>
          <a:xfrm rot="16200000" flipV="1">
            <a:off x="10865012" y="2883200"/>
            <a:ext cx="386667" cy="91853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1A83D03D-D460-5148-ACDD-37ADEC74FD90}"/>
              </a:ext>
            </a:extLst>
          </p:cNvPr>
          <p:cNvSpPr/>
          <p:nvPr/>
        </p:nvSpPr>
        <p:spPr>
          <a:xfrm>
            <a:off x="1217032" y="3535799"/>
            <a:ext cx="362543" cy="22395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ordinointitiimi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788FBA1-C127-4D49-9344-0B91E3B126CB}"/>
              </a:ext>
            </a:extLst>
          </p:cNvPr>
          <p:cNvSpPr txBox="1"/>
          <p:nvPr/>
        </p:nvSpPr>
        <p:spPr>
          <a:xfrm>
            <a:off x="3811548" y="5504208"/>
            <a:ext cx="23839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n koko 2-3 täyspäiväistä roolia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0ECD2E36-70E7-0D4F-B6ED-619EA503207D}"/>
              </a:ext>
            </a:extLst>
          </p:cNvPr>
          <p:cNvSpPr/>
          <p:nvPr/>
        </p:nvSpPr>
        <p:spPr>
          <a:xfrm rot="5400000">
            <a:off x="974923" y="4848587"/>
            <a:ext cx="314038" cy="21654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1642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6BD85E-2A87-7745-A906-3EA871C39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516" y="275105"/>
            <a:ext cx="10923495" cy="1500936"/>
          </a:xfrm>
        </p:spPr>
        <p:txBody>
          <a:bodyPr/>
          <a:lstStyle/>
          <a:p>
            <a:r>
              <a:rPr lang="fi-FI" dirty="0"/>
              <a:t>Digitoimiston ja Tietohallinnon välinen rooli digijohtamisess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687417A-C203-E445-BAD9-D72FAD042B37}"/>
              </a:ext>
            </a:extLst>
          </p:cNvPr>
          <p:cNvGrpSpPr/>
          <p:nvPr/>
        </p:nvGrpSpPr>
        <p:grpSpPr>
          <a:xfrm>
            <a:off x="874711" y="2468456"/>
            <a:ext cx="10442577" cy="1065988"/>
            <a:chOff x="1457736" y="2226363"/>
            <a:chExt cx="8090453" cy="192321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01F80E0-7909-6646-B104-5CE2EEABEF89}"/>
                </a:ext>
              </a:extLst>
            </p:cNvPr>
            <p:cNvGrpSpPr/>
            <p:nvPr/>
          </p:nvGrpSpPr>
          <p:grpSpPr>
            <a:xfrm>
              <a:off x="1457739" y="2226363"/>
              <a:ext cx="8090450" cy="1923217"/>
              <a:chOff x="1278833" y="2517912"/>
              <a:chExt cx="8792817" cy="372717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6FAFA22B-E4F5-0B44-B17D-8D8350346B41}"/>
                  </a:ext>
                </a:extLst>
              </p:cNvPr>
              <p:cNvSpPr/>
              <p:nvPr/>
            </p:nvSpPr>
            <p:spPr>
              <a:xfrm>
                <a:off x="1278833" y="2547728"/>
                <a:ext cx="8792817" cy="3697356"/>
              </a:xfrm>
              <a:prstGeom prst="rtTriangle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ight Triangle 8">
                <a:extLst>
                  <a:ext uri="{FF2B5EF4-FFF2-40B4-BE49-F238E27FC236}">
                    <a16:creationId xmlns:a16="http://schemas.microsoft.com/office/drawing/2014/main" id="{A36D8E06-7EC4-584D-9B82-D850688C44C3}"/>
                  </a:ext>
                </a:extLst>
              </p:cNvPr>
              <p:cNvSpPr/>
              <p:nvPr/>
            </p:nvSpPr>
            <p:spPr>
              <a:xfrm flipH="1" flipV="1">
                <a:off x="1278833" y="2517912"/>
                <a:ext cx="8792817" cy="3697355"/>
              </a:xfrm>
              <a:prstGeom prst="rt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8CDB7B9-AB97-2B4C-8258-8506F5FBA2FE}"/>
                </a:ext>
              </a:extLst>
            </p:cNvPr>
            <p:cNvSpPr txBox="1"/>
            <p:nvPr/>
          </p:nvSpPr>
          <p:spPr>
            <a:xfrm>
              <a:off x="8180315" y="2226364"/>
              <a:ext cx="1243615" cy="1495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etohallinto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FA7A04-3E35-8046-914E-545FDDCF02F2}"/>
                </a:ext>
              </a:extLst>
            </p:cNvPr>
            <p:cNvSpPr txBox="1"/>
            <p:nvPr/>
          </p:nvSpPr>
          <p:spPr>
            <a:xfrm>
              <a:off x="1457736" y="3470985"/>
              <a:ext cx="1312539" cy="3693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</a:t>
              </a:r>
            </a:p>
          </p:txBody>
        </p:sp>
      </p:grpSp>
      <p:sp>
        <p:nvSpPr>
          <p:cNvPr id="10" name="Chevron 9">
            <a:extLst>
              <a:ext uri="{FF2B5EF4-FFF2-40B4-BE49-F238E27FC236}">
                <a16:creationId xmlns:a16="http://schemas.microsoft.com/office/drawing/2014/main" id="{90859D8E-F1C5-F247-AF14-8DB2B07905F0}"/>
              </a:ext>
            </a:extLst>
          </p:cNvPr>
          <p:cNvSpPr/>
          <p:nvPr/>
        </p:nvSpPr>
        <p:spPr>
          <a:xfrm>
            <a:off x="874709" y="2062003"/>
            <a:ext cx="3392692" cy="325256"/>
          </a:xfrm>
          <a:prstGeom prst="chevro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rpeen tunnistaminen</a:t>
            </a:r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A44DD850-803B-4D44-9D54-F5405C33C7F3}"/>
              </a:ext>
            </a:extLst>
          </p:cNvPr>
          <p:cNvSpPr/>
          <p:nvPr/>
        </p:nvSpPr>
        <p:spPr>
          <a:xfrm>
            <a:off x="4399654" y="2062002"/>
            <a:ext cx="3392691" cy="325256"/>
          </a:xfrm>
          <a:prstGeom prst="chevro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ratkaisujen toteuttaminen ja käyttöönotto</a:t>
            </a:r>
          </a:p>
        </p:txBody>
      </p:sp>
      <p:sp>
        <p:nvSpPr>
          <p:cNvPr id="12" name="Chevron 11">
            <a:extLst>
              <a:ext uri="{FF2B5EF4-FFF2-40B4-BE49-F238E27FC236}">
                <a16:creationId xmlns:a16="http://schemas.microsoft.com/office/drawing/2014/main" id="{99110317-7D9B-9942-B9C9-1E6532228D1A}"/>
              </a:ext>
            </a:extLst>
          </p:cNvPr>
          <p:cNvSpPr/>
          <p:nvPr/>
        </p:nvSpPr>
        <p:spPr>
          <a:xfrm>
            <a:off x="7924598" y="2059256"/>
            <a:ext cx="3392690" cy="325256"/>
          </a:xfrm>
          <a:prstGeom prst="chevron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yttö, optimointi, elinkaaren hallin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B46935-0EA0-C540-B678-5C67AB4FC525}"/>
              </a:ext>
            </a:extLst>
          </p:cNvPr>
          <p:cNvSpPr/>
          <p:nvPr/>
        </p:nvSpPr>
        <p:spPr>
          <a:xfrm>
            <a:off x="874711" y="3626915"/>
            <a:ext cx="3392690" cy="281684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toimeenpanon varmistaj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portfolion omistaj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portfolio ohjausryhmän </a:t>
            </a:r>
            <a:r>
              <a:rPr kumimoji="0" lang="fi-FI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ilitaattori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peiden tunnistaminen ja keräys toimialoil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ärkevyystarkastel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ratkaisun konseptoinnin </a:t>
            </a:r>
            <a:r>
              <a:rPr kumimoji="0" lang="fi-FI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iliointi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ysjonon omistajuu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yvykkyyksien kehittämin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ologiakonsultoint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kkitehtuurikonsultoi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B7AF0A-90C4-824E-9FF9-839C3D9D1B39}"/>
              </a:ext>
            </a:extLst>
          </p:cNvPr>
          <p:cNvSpPr/>
          <p:nvPr/>
        </p:nvSpPr>
        <p:spPr>
          <a:xfrm>
            <a:off x="4399655" y="3626915"/>
            <a:ext cx="3392690" cy="281684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atimusten määrittelyn tuk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projektien edistäjä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ktin toteutuksen johtaminen ja toteut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imittajanhallin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ratkaisun </a:t>
            </a:r>
            <a:r>
              <a:rPr kumimoji="0" lang="fi-FI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istaminen</a:t>
            </a: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saksi tietohallinnon palveluportfoliota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kuvaukset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imalli jne.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A7DA31-4B0E-784E-83A1-5F8F3B005618}"/>
              </a:ext>
            </a:extLst>
          </p:cNvPr>
          <p:cNvSpPr/>
          <p:nvPr/>
        </p:nvSpPr>
        <p:spPr>
          <a:xfrm>
            <a:off x="7924598" y="3626915"/>
            <a:ext cx="3392690" cy="281684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palvelujen jatkuva ylläpi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imittajanhallin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kkitehtuur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iden IT-omistajuus vs. Tuoteomistaja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imall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nkäyttäjämall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ärkevyystarkastelun katselmointi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ointi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yttäjätyytyväisyys jne.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6AD556-391F-8C54-200E-729E9CE7B5EA}"/>
              </a:ext>
            </a:extLst>
          </p:cNvPr>
          <p:cNvSpPr/>
          <p:nvPr/>
        </p:nvSpPr>
        <p:spPr>
          <a:xfrm>
            <a:off x="117231" y="2476984"/>
            <a:ext cx="640285" cy="3966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täjät</a:t>
            </a:r>
          </a:p>
        </p:txBody>
      </p:sp>
    </p:spTree>
    <p:extLst>
      <p:ext uri="{BB962C8B-B14F-4D97-AF65-F5344CB8AC3E}">
        <p14:creationId xmlns:p14="http://schemas.microsoft.com/office/powerpoint/2010/main" val="30194026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34CE0-7E7F-054E-A853-4A5D05DA2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341" y="266141"/>
            <a:ext cx="11122211" cy="1500936"/>
          </a:xfrm>
        </p:spPr>
        <p:txBody>
          <a:bodyPr/>
          <a:lstStyle/>
          <a:p>
            <a:r>
              <a:rPr lang="fi-FI" dirty="0"/>
              <a:t>Digitoimiston vastuut suhteessa digikehittäjiin ja tietohallinto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B4B87E7-322F-6749-9129-A0F1BA3F5A65}"/>
              </a:ext>
            </a:extLst>
          </p:cNvPr>
          <p:cNvSpPr/>
          <p:nvPr/>
        </p:nvSpPr>
        <p:spPr>
          <a:xfrm>
            <a:off x="9027192" y="2335794"/>
            <a:ext cx="2770360" cy="4469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</a:t>
            </a:r>
          </a:p>
        </p:txBody>
      </p:sp>
      <p:sp>
        <p:nvSpPr>
          <p:cNvPr id="26" name="Chevron 25">
            <a:extLst>
              <a:ext uri="{FF2B5EF4-FFF2-40B4-BE49-F238E27FC236}">
                <a16:creationId xmlns:a16="http://schemas.microsoft.com/office/drawing/2014/main" id="{EE9AFDBF-7E74-C14D-B559-56775263E170}"/>
              </a:ext>
            </a:extLst>
          </p:cNvPr>
          <p:cNvSpPr/>
          <p:nvPr/>
        </p:nvSpPr>
        <p:spPr>
          <a:xfrm>
            <a:off x="235390" y="3157395"/>
            <a:ext cx="2190939" cy="726741"/>
          </a:xfrm>
          <a:prstGeom prst="chevron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tävä</a:t>
            </a:r>
          </a:p>
        </p:txBody>
      </p:sp>
      <p:sp>
        <p:nvSpPr>
          <p:cNvPr id="27" name="Chevron 26">
            <a:extLst>
              <a:ext uri="{FF2B5EF4-FFF2-40B4-BE49-F238E27FC236}">
                <a16:creationId xmlns:a16="http://schemas.microsoft.com/office/drawing/2014/main" id="{CBAC25D0-1A30-624A-AED7-E6B3ADFB956A}"/>
              </a:ext>
            </a:extLst>
          </p:cNvPr>
          <p:cNvSpPr/>
          <p:nvPr/>
        </p:nvSpPr>
        <p:spPr>
          <a:xfrm>
            <a:off x="220772" y="4531336"/>
            <a:ext cx="2190939" cy="726742"/>
          </a:xfrm>
          <a:prstGeom prst="chevron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ev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FF5A25D-C682-C942-8EBE-CFD6AF9C1F15}"/>
              </a:ext>
            </a:extLst>
          </p:cNvPr>
          <p:cNvSpPr txBox="1"/>
          <p:nvPr/>
        </p:nvSpPr>
        <p:spPr>
          <a:xfrm>
            <a:off x="8962053" y="3129007"/>
            <a:ext cx="29695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jen omistajuus ja tuoteomistajayhteistyö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terä kehittämin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yskumppaneiden hallin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-arkkitehtuuri ja vaatimustenmukaisuusasiat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0A015B8-9902-504B-86D6-2978ECA9CB39}"/>
              </a:ext>
            </a:extLst>
          </p:cNvPr>
          <p:cNvGrpSpPr/>
          <p:nvPr/>
        </p:nvGrpSpPr>
        <p:grpSpPr>
          <a:xfrm>
            <a:off x="8715421" y="1945131"/>
            <a:ext cx="883937" cy="689574"/>
            <a:chOff x="9395990" y="4950735"/>
            <a:chExt cx="1111781" cy="908915"/>
          </a:xfrm>
        </p:grpSpPr>
        <p:pic>
          <p:nvPicPr>
            <p:cNvPr id="22" name="Graphic 21" descr="Programmer male with solid fill">
              <a:extLst>
                <a:ext uri="{FF2B5EF4-FFF2-40B4-BE49-F238E27FC236}">
                  <a16:creationId xmlns:a16="http://schemas.microsoft.com/office/drawing/2014/main" id="{6AA75C91-A219-1949-8D8C-91B9F7833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395990" y="5057482"/>
              <a:ext cx="802168" cy="802168"/>
            </a:xfrm>
            <a:prstGeom prst="rect">
              <a:avLst/>
            </a:prstGeom>
          </p:spPr>
        </p:pic>
        <p:pic>
          <p:nvPicPr>
            <p:cNvPr id="36" name="Graphic 35" descr="Programmer female with solid fill">
              <a:extLst>
                <a:ext uri="{FF2B5EF4-FFF2-40B4-BE49-F238E27FC236}">
                  <a16:creationId xmlns:a16="http://schemas.microsoft.com/office/drawing/2014/main" id="{D2E75BF5-2900-9247-B0F9-435A83E857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801030" y="4950735"/>
              <a:ext cx="706741" cy="706741"/>
            </a:xfrm>
            <a:prstGeom prst="rect">
              <a:avLst/>
            </a:prstGeom>
          </p:spPr>
        </p:pic>
      </p:grpSp>
      <p:sp>
        <p:nvSpPr>
          <p:cNvPr id="39" name="Chevron 38">
            <a:extLst>
              <a:ext uri="{FF2B5EF4-FFF2-40B4-BE49-F238E27FC236}">
                <a16:creationId xmlns:a16="http://schemas.microsoft.com/office/drawing/2014/main" id="{6235F54F-0E6B-DC43-BC56-F261478EB16D}"/>
              </a:ext>
            </a:extLst>
          </p:cNvPr>
          <p:cNvSpPr/>
          <p:nvPr/>
        </p:nvSpPr>
        <p:spPr>
          <a:xfrm>
            <a:off x="235389" y="5905279"/>
            <a:ext cx="2190939" cy="724460"/>
          </a:xfrm>
          <a:prstGeom prst="chevron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lläpitävä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2D45DB-7E19-4A43-A3D8-838011D7C73F}"/>
              </a:ext>
            </a:extLst>
          </p:cNvPr>
          <p:cNvGrpSpPr/>
          <p:nvPr/>
        </p:nvGrpSpPr>
        <p:grpSpPr>
          <a:xfrm>
            <a:off x="5368007" y="1990542"/>
            <a:ext cx="3279990" cy="4296141"/>
            <a:chOff x="2350487" y="1986271"/>
            <a:chExt cx="3279990" cy="42961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EDC23D6-6AE9-F947-9071-AF97BA5CA37E}"/>
                </a:ext>
              </a:extLst>
            </p:cNvPr>
            <p:cNvSpPr/>
            <p:nvPr/>
          </p:nvSpPr>
          <p:spPr>
            <a:xfrm>
              <a:off x="2796010" y="2335794"/>
              <a:ext cx="2770360" cy="446940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3AC872B-A608-7A4B-A891-308ED305274F}"/>
                </a:ext>
              </a:extLst>
            </p:cNvPr>
            <p:cNvSpPr txBox="1"/>
            <p:nvPr/>
          </p:nvSpPr>
          <p:spPr>
            <a:xfrm>
              <a:off x="2771043" y="3110152"/>
              <a:ext cx="277036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an ja digiohjelman yhteensovit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ransformaation johtamine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levaisuuden digiohjelm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rendit ja teknologiat (esim. Dataohjaus, robotiikka, älykkäät työnkulut jne..)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41955E6-4F87-5149-A010-8FD42E92A4CF}"/>
                </a:ext>
              </a:extLst>
            </p:cNvPr>
            <p:cNvSpPr txBox="1"/>
            <p:nvPr/>
          </p:nvSpPr>
          <p:spPr>
            <a:xfrm>
              <a:off x="2771043" y="4479449"/>
              <a:ext cx="285943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ohdon digitilannekuvan tuk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-innovoinnin tukemine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aihioiden konseptointi digikehittäjien kanss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ärkevyystarkastelun tuk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ysverkoston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ilitointi</a:t>
              </a: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A2CD2AD-D54C-7843-A3FA-141CC3A9FEBF}"/>
                </a:ext>
              </a:extLst>
            </p:cNvPr>
            <p:cNvGrpSpPr/>
            <p:nvPr/>
          </p:nvGrpSpPr>
          <p:grpSpPr>
            <a:xfrm>
              <a:off x="2350487" y="1986271"/>
              <a:ext cx="1055927" cy="718664"/>
              <a:chOff x="7366107" y="5831443"/>
              <a:chExt cx="1055927" cy="718664"/>
            </a:xfrm>
          </p:grpSpPr>
          <p:pic>
            <p:nvPicPr>
              <p:cNvPr id="12" name="Graphic 11" descr="User with solid fill">
                <a:extLst>
                  <a:ext uri="{FF2B5EF4-FFF2-40B4-BE49-F238E27FC236}">
                    <a16:creationId xmlns:a16="http://schemas.microsoft.com/office/drawing/2014/main" id="{43482CDD-1F28-D84C-A18D-8896B815F3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672469" y="5967305"/>
                <a:ext cx="446940" cy="446940"/>
              </a:xfrm>
              <a:prstGeom prst="rect">
                <a:avLst/>
              </a:prstGeom>
            </p:spPr>
          </p:pic>
          <p:pic>
            <p:nvPicPr>
              <p:cNvPr id="13" name="Graphic 12" descr="User with solid fill">
                <a:extLst>
                  <a:ext uri="{FF2B5EF4-FFF2-40B4-BE49-F238E27FC236}">
                    <a16:creationId xmlns:a16="http://schemas.microsoft.com/office/drawing/2014/main" id="{549E3239-55AF-EE42-9D18-9912E4F16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975094" y="6103167"/>
                <a:ext cx="446940" cy="446940"/>
              </a:xfrm>
              <a:prstGeom prst="rect">
                <a:avLst/>
              </a:prstGeom>
            </p:spPr>
          </p:pic>
          <p:pic>
            <p:nvPicPr>
              <p:cNvPr id="14" name="Graphic 13" descr="User with solid fill">
                <a:extLst>
                  <a:ext uri="{FF2B5EF4-FFF2-40B4-BE49-F238E27FC236}">
                    <a16:creationId xmlns:a16="http://schemas.microsoft.com/office/drawing/2014/main" id="{07587522-16E7-544E-8D26-0700E21B90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366107" y="6103167"/>
                <a:ext cx="446940" cy="446940"/>
              </a:xfrm>
              <a:prstGeom prst="rect">
                <a:avLst/>
              </a:prstGeom>
            </p:spPr>
          </p:pic>
          <p:pic>
            <p:nvPicPr>
              <p:cNvPr id="33" name="Graphic 32" descr="Binary with solid fill">
                <a:extLst>
                  <a:ext uri="{FF2B5EF4-FFF2-40B4-BE49-F238E27FC236}">
                    <a16:creationId xmlns:a16="http://schemas.microsoft.com/office/drawing/2014/main" id="{96AA690A-5F14-2E4D-8D45-2FA98FAAE2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427331" y="5831443"/>
                <a:ext cx="359332" cy="359332"/>
              </a:xfrm>
              <a:prstGeom prst="rect">
                <a:avLst/>
              </a:prstGeom>
            </p:spPr>
          </p:pic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C05F483-894C-9A45-870E-146BA35C9F75}"/>
                </a:ext>
              </a:extLst>
            </p:cNvPr>
            <p:cNvSpPr txBox="1"/>
            <p:nvPr/>
          </p:nvSpPr>
          <p:spPr>
            <a:xfrm>
              <a:off x="2796010" y="5882302"/>
              <a:ext cx="27703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salkun hallinta ja ylläpito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09374066-9DE4-D343-B1DE-00B31F8A4DD3}"/>
              </a:ext>
            </a:extLst>
          </p:cNvPr>
          <p:cNvSpPr txBox="1"/>
          <p:nvPr/>
        </p:nvSpPr>
        <p:spPr>
          <a:xfrm>
            <a:off x="8962053" y="4479449"/>
            <a:ext cx="2770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-palveluiden tuki tietohallinnon tukimallin mukaisest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täjät tietohallinnon asiakkai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ologia ja arkkitehtuurituki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6ABD535-3635-554B-8EB9-2FC2AAB2770B}"/>
              </a:ext>
            </a:extLst>
          </p:cNvPr>
          <p:cNvGrpSpPr/>
          <p:nvPr/>
        </p:nvGrpSpPr>
        <p:grpSpPr>
          <a:xfrm>
            <a:off x="2198481" y="1864618"/>
            <a:ext cx="3200138" cy="4422065"/>
            <a:chOff x="5599829" y="1860347"/>
            <a:chExt cx="3200138" cy="4422065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2202A42-15B3-2242-9DFD-4E76E25E0824}"/>
                </a:ext>
              </a:extLst>
            </p:cNvPr>
            <p:cNvSpPr/>
            <p:nvPr/>
          </p:nvSpPr>
          <p:spPr>
            <a:xfrm>
              <a:off x="5911601" y="2335794"/>
              <a:ext cx="2770360" cy="4469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ät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BE489DA-0ABD-DF4D-874B-00126A6F4897}"/>
                </a:ext>
              </a:extLst>
            </p:cNvPr>
            <p:cNvSpPr txBox="1"/>
            <p:nvPr/>
          </p:nvSpPr>
          <p:spPr>
            <a:xfrm>
              <a:off x="5886633" y="3110152"/>
              <a:ext cx="288836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ratkaisuaihioiden tunnistaminen ja määrity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man alueen toiminnan kehity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ysverkoston aktiivinen toimij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lemassa olevien digiratkaisujen tuoteomistaj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yväksyntätestaus</a:t>
              </a:r>
            </a:p>
          </p:txBody>
        </p:sp>
        <p:pic>
          <p:nvPicPr>
            <p:cNvPr id="18" name="Graphic 17" descr="Cycle with people with solid fill">
              <a:extLst>
                <a:ext uri="{FF2B5EF4-FFF2-40B4-BE49-F238E27FC236}">
                  <a16:creationId xmlns:a16="http://schemas.microsoft.com/office/drawing/2014/main" id="{5C1A7E2D-16D5-444D-87D3-F9C615497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599829" y="1860347"/>
              <a:ext cx="917397" cy="917397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8977D2B-FF2C-9746-AF80-08757067923C}"/>
                </a:ext>
              </a:extLst>
            </p:cNvPr>
            <p:cNvSpPr txBox="1"/>
            <p:nvPr/>
          </p:nvSpPr>
          <p:spPr>
            <a:xfrm>
              <a:off x="5911085" y="4479449"/>
              <a:ext cx="277036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ratkaisun pääkäyttäjä/avainkäyttäjä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ratkaisun lähikouluttaj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utoksenhallinta ja tukemine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7B62F8C-1AA3-3841-BEEF-3673F8FDA0CF}"/>
                </a:ext>
              </a:extLst>
            </p:cNvPr>
            <p:cNvSpPr txBox="1"/>
            <p:nvPr/>
          </p:nvSpPr>
          <p:spPr>
            <a:xfrm>
              <a:off x="6029607" y="5882302"/>
              <a:ext cx="27703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53BE6B4-ABBA-DA4D-9268-A692DD68EF10}"/>
                </a:ext>
              </a:extLst>
            </p:cNvPr>
            <p:cNvSpPr txBox="1"/>
            <p:nvPr/>
          </p:nvSpPr>
          <p:spPr>
            <a:xfrm>
              <a:off x="5945061" y="5867399"/>
              <a:ext cx="27703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hjeistus ja koulutusmateriaalin ylläpito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F772A1AE-9DAF-874D-9537-418D46DB9A53}"/>
              </a:ext>
            </a:extLst>
          </p:cNvPr>
          <p:cNvSpPr txBox="1"/>
          <p:nvPr/>
        </p:nvSpPr>
        <p:spPr>
          <a:xfrm>
            <a:off x="9027192" y="5867399"/>
            <a:ext cx="27703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ratkaisupalvelujen tuottaminen osana IT-palvelutarjonta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8434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0A522-09AB-EF4C-B2A9-46F392E41DE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i-FI" dirty="0"/>
              <a:t>Digiohjelman ohjausryhmä</a:t>
            </a:r>
          </a:p>
        </p:txBody>
      </p:sp>
    </p:spTree>
    <p:extLst>
      <p:ext uri="{BB962C8B-B14F-4D97-AF65-F5344CB8AC3E}">
        <p14:creationId xmlns:p14="http://schemas.microsoft.com/office/powerpoint/2010/main" val="5446988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EE092-1B9C-0549-986F-91A4CCAC5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8508"/>
            <a:ext cx="10750236" cy="1500936"/>
          </a:xfrm>
        </p:spPr>
        <p:txBody>
          <a:bodyPr/>
          <a:lstStyle/>
          <a:p>
            <a:r>
              <a:rPr lang="fi-FI" dirty="0"/>
              <a:t>Digiohjelman ohjausryhmä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6EA91A0-1CEA-BD4D-8C6A-A0DB43A7D42C}"/>
              </a:ext>
            </a:extLst>
          </p:cNvPr>
          <p:cNvSpPr txBox="1"/>
          <p:nvPr/>
        </p:nvSpPr>
        <p:spPr>
          <a:xfrm>
            <a:off x="7839739" y="1935126"/>
            <a:ext cx="39842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ohjausryhmän tehtävät: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4661706-BFBC-EC4C-9D24-D2778CA3E72A}"/>
              </a:ext>
            </a:extLst>
          </p:cNvPr>
          <p:cNvSpPr txBox="1"/>
          <p:nvPr/>
        </p:nvSpPr>
        <p:spPr>
          <a:xfrm>
            <a:off x="7882833" y="2275558"/>
            <a:ext cx="39411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toteutumisen ohjaus ja seuranta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ortointi johtoryhmäl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iekartan omistaminen ja linkitys strategia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kuprojektien seuranta (digiteemajohdannaise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li vastuualueiden menevien digihankkeiden linjauk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kutason kustannusseuran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murroksen edistäjä ja puolestapuhuj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kous 4-6 kertaa vuodessa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2BF19E8-AD5C-DF4E-A062-EC9F88614AFF}"/>
              </a:ext>
            </a:extLst>
          </p:cNvPr>
          <p:cNvGrpSpPr/>
          <p:nvPr/>
        </p:nvGrpSpPr>
        <p:grpSpPr>
          <a:xfrm>
            <a:off x="942226" y="2049058"/>
            <a:ext cx="6026906" cy="3093104"/>
            <a:chOff x="1098171" y="2004143"/>
            <a:chExt cx="6026906" cy="309310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051DC12-0684-2042-A008-2A53F5E2A604}"/>
                </a:ext>
              </a:extLst>
            </p:cNvPr>
            <p:cNvSpPr/>
            <p:nvPr/>
          </p:nvSpPr>
          <p:spPr>
            <a:xfrm>
              <a:off x="1143753" y="2505994"/>
              <a:ext cx="5981323" cy="2591253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A79667C-A1B6-494C-BFDF-121232A7CB89}"/>
                </a:ext>
              </a:extLst>
            </p:cNvPr>
            <p:cNvSpPr/>
            <p:nvPr/>
          </p:nvSpPr>
          <p:spPr>
            <a:xfrm>
              <a:off x="1143754" y="2004143"/>
              <a:ext cx="5981323" cy="35518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Ylä</a:t>
              </a: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-Savon SOTE johtoryhmä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209DE68A-7F5E-C040-A7E2-CB45E579E103}"/>
                </a:ext>
              </a:extLst>
            </p:cNvPr>
            <p:cNvCxnSpPr>
              <a:cxnSpLocks/>
              <a:stCxn id="5" idx="2"/>
              <a:endCxn id="4" idx="0"/>
            </p:cNvCxnSpPr>
            <p:nvPr/>
          </p:nvCxnSpPr>
          <p:spPr>
            <a:xfrm flipH="1">
              <a:off x="4134415" y="2359323"/>
              <a:ext cx="1" cy="14667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8938523-C98A-2D45-AB9A-93B6703F07F7}"/>
                </a:ext>
              </a:extLst>
            </p:cNvPr>
            <p:cNvSpPr/>
            <p:nvPr/>
          </p:nvSpPr>
          <p:spPr>
            <a:xfrm>
              <a:off x="1330858" y="3278636"/>
              <a:ext cx="959669" cy="152849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D92C4F-31B0-194A-8E40-8AFBF29E0B1B}"/>
                </a:ext>
              </a:extLst>
            </p:cNvPr>
            <p:cNvSpPr/>
            <p:nvPr/>
          </p:nvSpPr>
          <p:spPr>
            <a:xfrm>
              <a:off x="2462543" y="2807704"/>
              <a:ext cx="4246053" cy="35518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ohjelman ohjausryhmän puheenjohtaja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903D291-02B5-0F41-AA00-6F9505C564CD}"/>
                </a:ext>
              </a:extLst>
            </p:cNvPr>
            <p:cNvSpPr/>
            <p:nvPr/>
          </p:nvSpPr>
          <p:spPr>
            <a:xfrm>
              <a:off x="2462543" y="3278636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cxnSp>
          <p:nvCxnSpPr>
            <p:cNvPr id="17" name="Elbow Connector 16">
              <a:extLst>
                <a:ext uri="{FF2B5EF4-FFF2-40B4-BE49-F238E27FC236}">
                  <a16:creationId xmlns:a16="http://schemas.microsoft.com/office/drawing/2014/main" id="{540BD199-66C1-3148-A453-08109CADED0A}"/>
                </a:ext>
              </a:extLst>
            </p:cNvPr>
            <p:cNvCxnSpPr>
              <a:cxnSpLocks/>
              <a:stCxn id="8" idx="0"/>
              <a:endCxn id="10" idx="1"/>
            </p:cNvCxnSpPr>
            <p:nvPr/>
          </p:nvCxnSpPr>
          <p:spPr>
            <a:xfrm rot="5400000" flipH="1" flipV="1">
              <a:off x="1989947" y="2806040"/>
              <a:ext cx="293342" cy="651850"/>
            </a:xfrm>
            <a:prstGeom prst="bentConnector2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40D45E-82C5-AD46-937E-00133071EE3E}"/>
                </a:ext>
              </a:extLst>
            </p:cNvPr>
            <p:cNvSpPr/>
            <p:nvPr/>
          </p:nvSpPr>
          <p:spPr>
            <a:xfrm>
              <a:off x="3195873" y="3278635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B08495-A6AC-0146-8DD1-BE54859EFB24}"/>
                </a:ext>
              </a:extLst>
            </p:cNvPr>
            <p:cNvSpPr/>
            <p:nvPr/>
          </p:nvSpPr>
          <p:spPr>
            <a:xfrm>
              <a:off x="3929197" y="3278634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1C8A8E2-9111-FF41-A197-FAF2DCBF3DB9}"/>
                </a:ext>
              </a:extLst>
            </p:cNvPr>
            <p:cNvSpPr/>
            <p:nvPr/>
          </p:nvSpPr>
          <p:spPr>
            <a:xfrm>
              <a:off x="4680634" y="3278633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8DE19B3-582A-724D-B498-471BF0FC2A7E}"/>
                </a:ext>
              </a:extLst>
            </p:cNvPr>
            <p:cNvSpPr/>
            <p:nvPr/>
          </p:nvSpPr>
          <p:spPr>
            <a:xfrm>
              <a:off x="5395851" y="3278632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B271DE2-AAAA-C548-A426-ABEB4BD4346D}"/>
                </a:ext>
              </a:extLst>
            </p:cNvPr>
            <p:cNvCxnSpPr>
              <a:stCxn id="11" idx="0"/>
            </p:cNvCxnSpPr>
            <p:nvPr/>
          </p:nvCxnSpPr>
          <p:spPr>
            <a:xfrm flipV="1">
              <a:off x="2743200" y="3162884"/>
              <a:ext cx="0" cy="11575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7F2311B4-DDAF-E346-ABF7-28E7FEFBD1BE}"/>
                </a:ext>
              </a:extLst>
            </p:cNvPr>
            <p:cNvCxnSpPr>
              <a:cxnSpLocks/>
              <a:stCxn id="18" idx="0"/>
            </p:cNvCxnSpPr>
            <p:nvPr/>
          </p:nvCxnSpPr>
          <p:spPr>
            <a:xfrm flipV="1">
              <a:off x="3476530" y="3162884"/>
              <a:ext cx="0" cy="1157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D10B3CE-A75B-FE4A-A030-11D674C91983}"/>
                </a:ext>
              </a:extLst>
            </p:cNvPr>
            <p:cNvSpPr/>
            <p:nvPr/>
          </p:nvSpPr>
          <p:spPr>
            <a:xfrm>
              <a:off x="6147288" y="3278632"/>
              <a:ext cx="561314" cy="113394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tuualu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5FE1402-B347-2048-AA59-F06A369A6E2B}"/>
                </a:ext>
              </a:extLst>
            </p:cNvPr>
            <p:cNvSpPr/>
            <p:nvPr/>
          </p:nvSpPr>
          <p:spPr>
            <a:xfrm>
              <a:off x="2462543" y="4589417"/>
              <a:ext cx="4246053" cy="21771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etohallinto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140F4BE-BE65-264F-8405-A48B1BFD4B06}"/>
                </a:ext>
              </a:extLst>
            </p:cNvPr>
            <p:cNvCxnSpPr>
              <a:cxnSpLocks/>
              <a:stCxn id="19" idx="0"/>
            </p:cNvCxnSpPr>
            <p:nvPr/>
          </p:nvCxnSpPr>
          <p:spPr>
            <a:xfrm flipV="1">
              <a:off x="4209854" y="3162883"/>
              <a:ext cx="0" cy="11575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E305524F-DE74-454B-AE94-A3B6ECCA97C0}"/>
                </a:ext>
              </a:extLst>
            </p:cNvPr>
            <p:cNvCxnSpPr>
              <a:cxnSpLocks/>
              <a:stCxn id="20" idx="0"/>
            </p:cNvCxnSpPr>
            <p:nvPr/>
          </p:nvCxnSpPr>
          <p:spPr>
            <a:xfrm flipV="1">
              <a:off x="4961291" y="3162883"/>
              <a:ext cx="0" cy="115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244FD175-FF19-1C4B-8671-1E966F69C33A}"/>
                </a:ext>
              </a:extLst>
            </p:cNvPr>
            <p:cNvCxnSpPr>
              <a:cxnSpLocks/>
              <a:stCxn id="21" idx="0"/>
            </p:cNvCxnSpPr>
            <p:nvPr/>
          </p:nvCxnSpPr>
          <p:spPr>
            <a:xfrm flipV="1">
              <a:off x="5676508" y="3162882"/>
              <a:ext cx="0" cy="115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A6F3CB1-3960-5D4A-B1AB-1791420CD856}"/>
                </a:ext>
              </a:extLst>
            </p:cNvPr>
            <p:cNvCxnSpPr>
              <a:cxnSpLocks/>
              <a:stCxn id="28" idx="0"/>
            </p:cNvCxnSpPr>
            <p:nvPr/>
          </p:nvCxnSpPr>
          <p:spPr>
            <a:xfrm flipV="1">
              <a:off x="6427945" y="3162882"/>
              <a:ext cx="0" cy="115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Elbow Connector 46">
              <a:extLst>
                <a:ext uri="{FF2B5EF4-FFF2-40B4-BE49-F238E27FC236}">
                  <a16:creationId xmlns:a16="http://schemas.microsoft.com/office/drawing/2014/main" id="{01C7DD64-B932-F947-B105-0BEF22233E01}"/>
                </a:ext>
              </a:extLst>
            </p:cNvPr>
            <p:cNvCxnSpPr>
              <a:stCxn id="31" idx="3"/>
              <a:endCxn id="10" idx="3"/>
            </p:cNvCxnSpPr>
            <p:nvPr/>
          </p:nvCxnSpPr>
          <p:spPr>
            <a:xfrm flipV="1">
              <a:off x="6708596" y="2985294"/>
              <a:ext cx="12700" cy="1712980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FD4E14D-B5E9-9E4E-A2ED-3271A14ECD47}"/>
                </a:ext>
              </a:extLst>
            </p:cNvPr>
            <p:cNvSpPr txBox="1"/>
            <p:nvPr/>
          </p:nvSpPr>
          <p:spPr>
            <a:xfrm>
              <a:off x="1098171" y="2488130"/>
              <a:ext cx="20768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salkun ohjausryhmä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BEF6B1CD-3C1F-654B-A90A-67C718506833}"/>
              </a:ext>
            </a:extLst>
          </p:cNvPr>
          <p:cNvSpPr txBox="1"/>
          <p:nvPr/>
        </p:nvSpPr>
        <p:spPr>
          <a:xfrm>
            <a:off x="7839740" y="3918838"/>
            <a:ext cx="34733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ohjelman ohjausryhmä ei ole: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01278B7-60C5-9443-B6C3-26220F0E55B6}"/>
              </a:ext>
            </a:extLst>
          </p:cNvPr>
          <p:cNvSpPr txBox="1"/>
          <p:nvPr/>
        </p:nvSpPr>
        <p:spPr>
          <a:xfrm>
            <a:off x="7882833" y="4293161"/>
            <a:ext cx="3799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rvaava elin yksittäisten projektien ohjausryhmil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otannossa olevien palveluiden ohjaaj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77846BD-9C84-2E44-B167-66ACB701895D}"/>
              </a:ext>
            </a:extLst>
          </p:cNvPr>
          <p:cNvSpPr txBox="1"/>
          <p:nvPr/>
        </p:nvSpPr>
        <p:spPr>
          <a:xfrm>
            <a:off x="3769338" y="5348684"/>
            <a:ext cx="9108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8FF38E3-9AE7-4E48-A854-7046AA168294}"/>
              </a:ext>
            </a:extLst>
          </p:cNvPr>
          <p:cNvSpPr txBox="1"/>
          <p:nvPr/>
        </p:nvSpPr>
        <p:spPr>
          <a:xfrm>
            <a:off x="3787124" y="5595730"/>
            <a:ext cx="242662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hjausryhmäkokousten valmistelu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kesalkkuraportointi ja esittel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itysten valmistelun tuki vastuualuei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 osallistu päätöksenteko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7DF1207-9154-484B-97E1-FBB0CDC8D9F6}"/>
              </a:ext>
            </a:extLst>
          </p:cNvPr>
          <p:cNvSpPr txBox="1"/>
          <p:nvPr/>
        </p:nvSpPr>
        <p:spPr>
          <a:xfrm>
            <a:off x="6471954" y="5348684"/>
            <a:ext cx="8627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stuualue: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1BA5D28-AE89-1E49-B35C-DDCBC27A84BA}"/>
              </a:ext>
            </a:extLst>
          </p:cNvPr>
          <p:cNvSpPr txBox="1"/>
          <p:nvPr/>
        </p:nvSpPr>
        <p:spPr>
          <a:xfrm>
            <a:off x="6471954" y="5595730"/>
            <a:ext cx="283102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usien digialoitteiden esittel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iden alueiden digiasioiden kommentoint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an alueen projektien edistymisen raportoint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gelmat, jotka vaativat yhteisiä linjauksia tai päätöksiä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D8C546F-49DE-FE4B-B2BA-693DD37AB209}"/>
              </a:ext>
            </a:extLst>
          </p:cNvPr>
          <p:cNvSpPr txBox="1"/>
          <p:nvPr/>
        </p:nvSpPr>
        <p:spPr>
          <a:xfrm>
            <a:off x="924055" y="5348684"/>
            <a:ext cx="10534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heenjohtaja: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BC5D3B9-A5B5-6244-B57D-67A660AAFB54}"/>
              </a:ext>
            </a:extLst>
          </p:cNvPr>
          <p:cNvSpPr txBox="1"/>
          <p:nvPr/>
        </p:nvSpPr>
        <p:spPr>
          <a:xfrm>
            <a:off x="942226" y="5595730"/>
            <a:ext cx="28310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htaa kokousta, jonka digitoimisto on valmistellu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staa vastuun digiohjelman toteutumises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ortoi </a:t>
            </a:r>
            <a:r>
              <a:rPr kumimoji="0" lang="fi-FI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lä</a:t>
            </a: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Savon SOTE johtoryhmäl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oli katsoa yli vastuualueid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nsoroida digitaalisen murroksen etenemistä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A12BE3A-E3E4-DB40-A778-6D6CB95D96C8}"/>
              </a:ext>
            </a:extLst>
          </p:cNvPr>
          <p:cNvSpPr txBox="1"/>
          <p:nvPr/>
        </p:nvSpPr>
        <p:spPr>
          <a:xfrm>
            <a:off x="9126480" y="5348684"/>
            <a:ext cx="9460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hallinto: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C48F46B-5F19-FB49-86C0-888762529743}"/>
              </a:ext>
            </a:extLst>
          </p:cNvPr>
          <p:cNvSpPr txBox="1"/>
          <p:nvPr/>
        </p:nvSpPr>
        <p:spPr>
          <a:xfrm>
            <a:off x="9126480" y="5595730"/>
            <a:ext cx="28310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ologialinjauk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kkitehtuurilinjauk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toturva ja vaatimustenmukaisuuslinjauks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imittajahallint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jaukset olemassa oleviin palveluihi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48561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0A522-09AB-EF4C-B2A9-46F392E41D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12341" y="2281969"/>
            <a:ext cx="7188424" cy="2779834"/>
          </a:xfrm>
        </p:spPr>
        <p:txBody>
          <a:bodyPr>
            <a:normAutofit/>
          </a:bodyPr>
          <a:lstStyle/>
          <a:p>
            <a:r>
              <a:rPr lang="fi-FI" dirty="0"/>
              <a:t>Digikehittämisen toimintamalli</a:t>
            </a:r>
          </a:p>
        </p:txBody>
      </p:sp>
    </p:spTree>
    <p:extLst>
      <p:ext uri="{BB962C8B-B14F-4D97-AF65-F5344CB8AC3E}">
        <p14:creationId xmlns:p14="http://schemas.microsoft.com/office/powerpoint/2010/main" val="2243923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CB5E6-E6D9-2544-A19C-5DF036501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8264"/>
            <a:ext cx="10045700" cy="1500936"/>
          </a:xfrm>
        </p:spPr>
        <p:txBody>
          <a:bodyPr/>
          <a:lstStyle/>
          <a:p>
            <a:r>
              <a:rPr lang="fi-FI" dirty="0"/>
              <a:t>Digikehittämisen ”luonne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6408D6-FB08-F048-B9C2-DD58659C84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769" y="2260560"/>
            <a:ext cx="5392285" cy="38788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E4C0EB5-D2A7-864C-AF9A-7C7E52DF4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8385" y="2397621"/>
            <a:ext cx="5910196" cy="25273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CD9BA3-5829-A744-91E6-DC572128D4F8}"/>
              </a:ext>
            </a:extLst>
          </p:cNvPr>
          <p:cNvSpPr txBox="1"/>
          <p:nvPr/>
        </p:nvSpPr>
        <p:spPr>
          <a:xfrm>
            <a:off x="349769" y="6022900"/>
            <a:ext cx="1867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nefin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itekehy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FFFE25-915A-C24E-87AB-E5D7E665448D}"/>
              </a:ext>
            </a:extLst>
          </p:cNvPr>
          <p:cNvSpPr txBox="1"/>
          <p:nvPr/>
        </p:nvSpPr>
        <p:spPr>
          <a:xfrm>
            <a:off x="7585383" y="2028289"/>
            <a:ext cx="2616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tämistyyp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A79F9D-F66C-2948-B59F-732A1F84CA6B}"/>
              </a:ext>
            </a:extLst>
          </p:cNvPr>
          <p:cNvSpPr txBox="1"/>
          <p:nvPr/>
        </p:nvSpPr>
        <p:spPr>
          <a:xfrm>
            <a:off x="5938385" y="5080000"/>
            <a:ext cx="27738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detään kehittämisen lopputul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edetään kuinka lopputulokseen päästää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idaan vaiheistaa kehitystyö selkeisiin osakokonaisuuksi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irretään olemassa olevat toimintamallit digitaaliseen muoto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B186B6-24C1-7D4A-89D6-667126331363}"/>
              </a:ext>
            </a:extLst>
          </p:cNvPr>
          <p:cNvSpPr txBox="1"/>
          <p:nvPr/>
        </p:nvSpPr>
        <p:spPr>
          <a:xfrm>
            <a:off x="9074766" y="5080000"/>
            <a:ext cx="277381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 tarkkaan tiedetä mikä on lopputul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etään sellaista mitä ei ennen ole oll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oidaan uutta ja kehitetään uusia toimintamallej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 ”digitalisoida” olemassa olevia prosesseja tai vakiintuneita käytäntöjä vaan hyödynnetään uutta ajattelua ja teknologia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E6DF7D-46FF-B544-A399-FA1471AE57BD}"/>
              </a:ext>
            </a:extLst>
          </p:cNvPr>
          <p:cNvSpPr txBox="1"/>
          <p:nvPr/>
        </p:nvSpPr>
        <p:spPr>
          <a:xfrm>
            <a:off x="433061" y="2461629"/>
            <a:ext cx="1783758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täminen</a:t>
            </a:r>
          </a:p>
        </p:txBody>
      </p:sp>
    </p:spTree>
    <p:extLst>
      <p:ext uri="{BB962C8B-B14F-4D97-AF65-F5344CB8AC3E}">
        <p14:creationId xmlns:p14="http://schemas.microsoft.com/office/powerpoint/2010/main" val="20429706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A9757-B631-B14C-AE9D-7561DED22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937" y="243557"/>
            <a:ext cx="10328031" cy="1500936"/>
          </a:xfrm>
        </p:spPr>
        <p:txBody>
          <a:bodyPr/>
          <a:lstStyle/>
          <a:p>
            <a:r>
              <a:rPr lang="fi-FI" dirty="0"/>
              <a:t>Digikehittäminen palvelumuotoilun keinoin ideasta toteutukseen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17A0B3F-9AD8-5C4E-8E1D-1D7FDB32965F}"/>
              </a:ext>
            </a:extLst>
          </p:cNvPr>
          <p:cNvGrpSpPr/>
          <p:nvPr/>
        </p:nvGrpSpPr>
        <p:grpSpPr>
          <a:xfrm>
            <a:off x="1173283" y="2080163"/>
            <a:ext cx="10678960" cy="4693530"/>
            <a:chOff x="1490783" y="2044780"/>
            <a:chExt cx="10678960" cy="46935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6753D73-D12D-284A-97FC-8F4CB9ECA994}"/>
                </a:ext>
              </a:extLst>
            </p:cNvPr>
            <p:cNvSpPr/>
            <p:nvPr/>
          </p:nvSpPr>
          <p:spPr>
            <a:xfrm>
              <a:off x="1490783" y="2044780"/>
              <a:ext cx="2725617" cy="3094890"/>
            </a:xfrm>
            <a:custGeom>
              <a:avLst/>
              <a:gdLst>
                <a:gd name="connsiteX0" fmla="*/ 0 w 3622431"/>
                <a:gd name="connsiteY0" fmla="*/ 0 h 2373922"/>
                <a:gd name="connsiteX1" fmla="*/ 3622431 w 3622431"/>
                <a:gd name="connsiteY1" fmla="*/ 0 h 2373922"/>
                <a:gd name="connsiteX2" fmla="*/ 3622431 w 3622431"/>
                <a:gd name="connsiteY2" fmla="*/ 2373922 h 2373922"/>
                <a:gd name="connsiteX3" fmla="*/ 0 w 3622431"/>
                <a:gd name="connsiteY3" fmla="*/ 2373922 h 2373922"/>
                <a:gd name="connsiteX4" fmla="*/ 0 w 3622431"/>
                <a:gd name="connsiteY4" fmla="*/ 0 h 2373922"/>
                <a:gd name="connsiteX0" fmla="*/ 0 w 3622431"/>
                <a:gd name="connsiteY0" fmla="*/ 0 h 2373922"/>
                <a:gd name="connsiteX1" fmla="*/ 3543300 w 3622431"/>
                <a:gd name="connsiteY1" fmla="*/ 1099038 h 2373922"/>
                <a:gd name="connsiteX2" fmla="*/ 3622431 w 3622431"/>
                <a:gd name="connsiteY2" fmla="*/ 2373922 h 2373922"/>
                <a:gd name="connsiteX3" fmla="*/ 0 w 3622431"/>
                <a:gd name="connsiteY3" fmla="*/ 2373922 h 2373922"/>
                <a:gd name="connsiteX4" fmla="*/ 0 w 3622431"/>
                <a:gd name="connsiteY4" fmla="*/ 0 h 2373922"/>
                <a:gd name="connsiteX0" fmla="*/ 0 w 3578469"/>
                <a:gd name="connsiteY0" fmla="*/ 0 h 2373922"/>
                <a:gd name="connsiteX1" fmla="*/ 3543300 w 3578469"/>
                <a:gd name="connsiteY1" fmla="*/ 1099038 h 2373922"/>
                <a:gd name="connsiteX2" fmla="*/ 3578469 w 3578469"/>
                <a:gd name="connsiteY2" fmla="*/ 1714499 h 2373922"/>
                <a:gd name="connsiteX3" fmla="*/ 0 w 3578469"/>
                <a:gd name="connsiteY3" fmla="*/ 2373922 h 2373922"/>
                <a:gd name="connsiteX4" fmla="*/ 0 w 3578469"/>
                <a:gd name="connsiteY4" fmla="*/ 0 h 2373922"/>
                <a:gd name="connsiteX0" fmla="*/ 0 w 3569677"/>
                <a:gd name="connsiteY0" fmla="*/ 0 h 2373922"/>
                <a:gd name="connsiteX1" fmla="*/ 3543300 w 3569677"/>
                <a:gd name="connsiteY1" fmla="*/ 1099038 h 2373922"/>
                <a:gd name="connsiteX2" fmla="*/ 3569677 w 3569677"/>
                <a:gd name="connsiteY2" fmla="*/ 1960683 h 2373922"/>
                <a:gd name="connsiteX3" fmla="*/ 0 w 3569677"/>
                <a:gd name="connsiteY3" fmla="*/ 2373922 h 2373922"/>
                <a:gd name="connsiteX4" fmla="*/ 0 w 3569677"/>
                <a:gd name="connsiteY4" fmla="*/ 0 h 2373922"/>
                <a:gd name="connsiteX0" fmla="*/ 0 w 3569677"/>
                <a:gd name="connsiteY0" fmla="*/ 0 h 2373922"/>
                <a:gd name="connsiteX1" fmla="*/ 3560885 w 3569677"/>
                <a:gd name="connsiteY1" fmla="*/ 650630 h 2373922"/>
                <a:gd name="connsiteX2" fmla="*/ 3569677 w 3569677"/>
                <a:gd name="connsiteY2" fmla="*/ 1960683 h 2373922"/>
                <a:gd name="connsiteX3" fmla="*/ 0 w 3569677"/>
                <a:gd name="connsiteY3" fmla="*/ 2373922 h 2373922"/>
                <a:gd name="connsiteX4" fmla="*/ 0 w 3569677"/>
                <a:gd name="connsiteY4" fmla="*/ 0 h 2373922"/>
                <a:gd name="connsiteX0" fmla="*/ 0 w 3578469"/>
                <a:gd name="connsiteY0" fmla="*/ 0 h 2373922"/>
                <a:gd name="connsiteX1" fmla="*/ 3560885 w 3578469"/>
                <a:gd name="connsiteY1" fmla="*/ 650630 h 2373922"/>
                <a:gd name="connsiteX2" fmla="*/ 3578469 w 3578469"/>
                <a:gd name="connsiteY2" fmla="*/ 1644160 h 2373922"/>
                <a:gd name="connsiteX3" fmla="*/ 0 w 3578469"/>
                <a:gd name="connsiteY3" fmla="*/ 2373922 h 2373922"/>
                <a:gd name="connsiteX4" fmla="*/ 0 w 3578469"/>
                <a:gd name="connsiteY4" fmla="*/ 0 h 2373922"/>
                <a:gd name="connsiteX0" fmla="*/ 35169 w 3578469"/>
                <a:gd name="connsiteY0" fmla="*/ 0 h 2795953"/>
                <a:gd name="connsiteX1" fmla="*/ 3560885 w 3578469"/>
                <a:gd name="connsiteY1" fmla="*/ 1072661 h 2795953"/>
                <a:gd name="connsiteX2" fmla="*/ 3578469 w 3578469"/>
                <a:gd name="connsiteY2" fmla="*/ 2066191 h 2795953"/>
                <a:gd name="connsiteX3" fmla="*/ 0 w 3578469"/>
                <a:gd name="connsiteY3" fmla="*/ 2795953 h 2795953"/>
                <a:gd name="connsiteX4" fmla="*/ 35169 w 3578469"/>
                <a:gd name="connsiteY4" fmla="*/ 0 h 2795953"/>
                <a:gd name="connsiteX0" fmla="*/ 43961 w 3587261"/>
                <a:gd name="connsiteY0" fmla="*/ 0 h 3103683"/>
                <a:gd name="connsiteX1" fmla="*/ 3569677 w 3587261"/>
                <a:gd name="connsiteY1" fmla="*/ 1072661 h 3103683"/>
                <a:gd name="connsiteX2" fmla="*/ 3587261 w 3587261"/>
                <a:gd name="connsiteY2" fmla="*/ 2066191 h 3103683"/>
                <a:gd name="connsiteX3" fmla="*/ 0 w 3587261"/>
                <a:gd name="connsiteY3" fmla="*/ 3103683 h 3103683"/>
                <a:gd name="connsiteX4" fmla="*/ 43961 w 3587261"/>
                <a:gd name="connsiteY4" fmla="*/ 0 h 3103683"/>
                <a:gd name="connsiteX0" fmla="*/ 0 w 3604847"/>
                <a:gd name="connsiteY0" fmla="*/ 0 h 3077306"/>
                <a:gd name="connsiteX1" fmla="*/ 3587263 w 3604847"/>
                <a:gd name="connsiteY1" fmla="*/ 1046284 h 3077306"/>
                <a:gd name="connsiteX2" fmla="*/ 3604847 w 3604847"/>
                <a:gd name="connsiteY2" fmla="*/ 2039814 h 3077306"/>
                <a:gd name="connsiteX3" fmla="*/ 17586 w 3604847"/>
                <a:gd name="connsiteY3" fmla="*/ 3077306 h 3077306"/>
                <a:gd name="connsiteX4" fmla="*/ 0 w 3604847"/>
                <a:gd name="connsiteY4" fmla="*/ 0 h 3077306"/>
                <a:gd name="connsiteX0" fmla="*/ 26375 w 3631222"/>
                <a:gd name="connsiteY0" fmla="*/ 0 h 3077306"/>
                <a:gd name="connsiteX1" fmla="*/ 3613638 w 3631222"/>
                <a:gd name="connsiteY1" fmla="*/ 1046284 h 3077306"/>
                <a:gd name="connsiteX2" fmla="*/ 3631222 w 3631222"/>
                <a:gd name="connsiteY2" fmla="*/ 2039814 h 3077306"/>
                <a:gd name="connsiteX3" fmla="*/ 0 w 3631222"/>
                <a:gd name="connsiteY3" fmla="*/ 3077306 h 3077306"/>
                <a:gd name="connsiteX4" fmla="*/ 26375 w 3631222"/>
                <a:gd name="connsiteY4" fmla="*/ 0 h 3077306"/>
                <a:gd name="connsiteX0" fmla="*/ 0 w 3604847"/>
                <a:gd name="connsiteY0" fmla="*/ 0 h 3094890"/>
                <a:gd name="connsiteX1" fmla="*/ 3587263 w 3604847"/>
                <a:gd name="connsiteY1" fmla="*/ 1046284 h 3094890"/>
                <a:gd name="connsiteX2" fmla="*/ 3604847 w 3604847"/>
                <a:gd name="connsiteY2" fmla="*/ 2039814 h 3094890"/>
                <a:gd name="connsiteX3" fmla="*/ 2 w 3604847"/>
                <a:gd name="connsiteY3" fmla="*/ 3094890 h 3094890"/>
                <a:gd name="connsiteX4" fmla="*/ 0 w 3604847"/>
                <a:gd name="connsiteY4" fmla="*/ 0 h 3094890"/>
                <a:gd name="connsiteX0" fmla="*/ 0 w 3604847"/>
                <a:gd name="connsiteY0" fmla="*/ 0 h 3094890"/>
                <a:gd name="connsiteX1" fmla="*/ 3598893 w 3604847"/>
                <a:gd name="connsiteY1" fmla="*/ 1055077 h 3094890"/>
                <a:gd name="connsiteX2" fmla="*/ 3604847 w 3604847"/>
                <a:gd name="connsiteY2" fmla="*/ 2039814 h 3094890"/>
                <a:gd name="connsiteX3" fmla="*/ 2 w 3604847"/>
                <a:gd name="connsiteY3" fmla="*/ 3094890 h 3094890"/>
                <a:gd name="connsiteX4" fmla="*/ 0 w 3604847"/>
                <a:gd name="connsiteY4" fmla="*/ 0 h 309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4847" h="3094890">
                  <a:moveTo>
                    <a:pt x="0" y="0"/>
                  </a:moveTo>
                  <a:lnTo>
                    <a:pt x="3598893" y="1055077"/>
                  </a:lnTo>
                  <a:cubicBezTo>
                    <a:pt x="3601824" y="1491761"/>
                    <a:pt x="3601916" y="1603130"/>
                    <a:pt x="3604847" y="2039814"/>
                  </a:cubicBezTo>
                  <a:lnTo>
                    <a:pt x="2" y="3094890"/>
                  </a:lnTo>
                  <a:cubicBezTo>
                    <a:pt x="1" y="2063260"/>
                    <a:pt x="1" y="1031630"/>
                    <a:pt x="0" y="0"/>
                  </a:cubicBezTo>
                  <a:close/>
                </a:path>
              </a:pathLst>
            </a:cu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deat ja tarpeet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3262C4F-572D-0842-9112-0C0BA2E65D91}"/>
                </a:ext>
              </a:extLst>
            </p:cNvPr>
            <p:cNvSpPr/>
            <p:nvPr/>
          </p:nvSpPr>
          <p:spPr>
            <a:xfrm>
              <a:off x="4216400" y="3091061"/>
              <a:ext cx="1740877" cy="100232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ääritte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52BD83-6CF4-5042-8070-7415C240C1F6}"/>
                </a:ext>
              </a:extLst>
            </p:cNvPr>
            <p:cNvSpPr/>
            <p:nvPr/>
          </p:nvSpPr>
          <p:spPr>
            <a:xfrm>
              <a:off x="5957277" y="3091060"/>
              <a:ext cx="1740877" cy="100232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tki j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iteytä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E27E94-FA5B-B54A-97AF-64BCC6F44897}"/>
                </a:ext>
              </a:extLst>
            </p:cNvPr>
            <p:cNvSpPr/>
            <p:nvPr/>
          </p:nvSpPr>
          <p:spPr>
            <a:xfrm>
              <a:off x="7698154" y="3091059"/>
              <a:ext cx="1740877" cy="100232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deoi, kuva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a kokeile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EF2DEA73-AFC7-CC4F-8318-DA7841324F36}"/>
                </a:ext>
              </a:extLst>
            </p:cNvPr>
            <p:cNvSpPr/>
            <p:nvPr/>
          </p:nvSpPr>
          <p:spPr>
            <a:xfrm>
              <a:off x="1780931" y="2589904"/>
              <a:ext cx="474784" cy="40444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67E5F4A-C8F5-D248-9CC5-F9220274CD59}"/>
                </a:ext>
              </a:extLst>
            </p:cNvPr>
            <p:cNvSpPr/>
            <p:nvPr/>
          </p:nvSpPr>
          <p:spPr>
            <a:xfrm>
              <a:off x="1701802" y="3240542"/>
              <a:ext cx="316521" cy="29893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97A1075F-C6CE-3647-8258-CE024A8F80BE}"/>
                </a:ext>
              </a:extLst>
            </p:cNvPr>
            <p:cNvSpPr/>
            <p:nvPr/>
          </p:nvSpPr>
          <p:spPr>
            <a:xfrm>
              <a:off x="1807308" y="4190106"/>
              <a:ext cx="316521" cy="29893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CB21AD0-73B1-AD45-8AF1-4850A2BE0B46}"/>
                </a:ext>
              </a:extLst>
            </p:cNvPr>
            <p:cNvSpPr/>
            <p:nvPr/>
          </p:nvSpPr>
          <p:spPr>
            <a:xfrm>
              <a:off x="1638056" y="4612135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277ADE5-D145-DD4D-95FE-E5FD719F3EB7}"/>
                </a:ext>
              </a:extLst>
            </p:cNvPr>
            <p:cNvSpPr/>
            <p:nvPr/>
          </p:nvSpPr>
          <p:spPr>
            <a:xfrm>
              <a:off x="2378808" y="3029516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8EC828E-F769-EF4B-92A1-3C6D69463561}"/>
                </a:ext>
              </a:extLst>
            </p:cNvPr>
            <p:cNvSpPr/>
            <p:nvPr/>
          </p:nvSpPr>
          <p:spPr>
            <a:xfrm>
              <a:off x="2853592" y="2967964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7D2D66B-F2AE-B44C-B58D-9A6B821B262B}"/>
                </a:ext>
              </a:extLst>
            </p:cNvPr>
            <p:cNvSpPr/>
            <p:nvPr/>
          </p:nvSpPr>
          <p:spPr>
            <a:xfrm>
              <a:off x="3082191" y="3891148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3AC12F4-0A36-9542-8702-4DF9A7B973F8}"/>
                </a:ext>
              </a:extLst>
            </p:cNvPr>
            <p:cNvSpPr/>
            <p:nvPr/>
          </p:nvSpPr>
          <p:spPr>
            <a:xfrm>
              <a:off x="3433885" y="3091059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98A0976-33DD-1E4D-90B8-B67E8728A8A5}"/>
                </a:ext>
              </a:extLst>
            </p:cNvPr>
            <p:cNvSpPr/>
            <p:nvPr/>
          </p:nvSpPr>
          <p:spPr>
            <a:xfrm>
              <a:off x="1877648" y="3782272"/>
              <a:ext cx="228599" cy="24619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8B5A96F-4354-3E40-8686-5DE752122708}"/>
                </a:ext>
              </a:extLst>
            </p:cNvPr>
            <p:cNvSpPr/>
            <p:nvPr/>
          </p:nvSpPr>
          <p:spPr>
            <a:xfrm>
              <a:off x="2396394" y="4005448"/>
              <a:ext cx="457198" cy="48358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ight Arrow 40">
              <a:extLst>
                <a:ext uri="{FF2B5EF4-FFF2-40B4-BE49-F238E27FC236}">
                  <a16:creationId xmlns:a16="http://schemas.microsoft.com/office/drawing/2014/main" id="{109D042E-C8F2-0141-962F-334D391B68D6}"/>
                </a:ext>
              </a:extLst>
            </p:cNvPr>
            <p:cNvSpPr/>
            <p:nvPr/>
          </p:nvSpPr>
          <p:spPr>
            <a:xfrm>
              <a:off x="4005384" y="3314472"/>
              <a:ext cx="422031" cy="46492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ight Arrow 41">
              <a:extLst>
                <a:ext uri="{FF2B5EF4-FFF2-40B4-BE49-F238E27FC236}">
                  <a16:creationId xmlns:a16="http://schemas.microsoft.com/office/drawing/2014/main" id="{D46D3769-0D62-D54A-89D5-6A971823DB2D}"/>
                </a:ext>
              </a:extLst>
            </p:cNvPr>
            <p:cNvSpPr/>
            <p:nvPr/>
          </p:nvSpPr>
          <p:spPr>
            <a:xfrm>
              <a:off x="5738392" y="3314472"/>
              <a:ext cx="422031" cy="46492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ight Arrow 42">
              <a:extLst>
                <a:ext uri="{FF2B5EF4-FFF2-40B4-BE49-F238E27FC236}">
                  <a16:creationId xmlns:a16="http://schemas.microsoft.com/office/drawing/2014/main" id="{5CAB452E-5095-224F-B3F3-48545EBB0C07}"/>
                </a:ext>
              </a:extLst>
            </p:cNvPr>
            <p:cNvSpPr/>
            <p:nvPr/>
          </p:nvSpPr>
          <p:spPr>
            <a:xfrm>
              <a:off x="7489908" y="3314472"/>
              <a:ext cx="422031" cy="46492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83C64AF-56FC-E747-A288-220D2DD623B3}"/>
                </a:ext>
              </a:extLst>
            </p:cNvPr>
            <p:cNvSpPr/>
            <p:nvPr/>
          </p:nvSpPr>
          <p:spPr>
            <a:xfrm>
              <a:off x="9449670" y="3091058"/>
              <a:ext cx="1740877" cy="100232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staa j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euta</a:t>
              </a:r>
            </a:p>
          </p:txBody>
        </p:sp>
        <p:sp>
          <p:nvSpPr>
            <p:cNvPr id="46" name="Right Arrow 45">
              <a:extLst>
                <a:ext uri="{FF2B5EF4-FFF2-40B4-BE49-F238E27FC236}">
                  <a16:creationId xmlns:a16="http://schemas.microsoft.com/office/drawing/2014/main" id="{35D09F00-F13B-EA4A-A454-2AD67D8336AD}"/>
                </a:ext>
              </a:extLst>
            </p:cNvPr>
            <p:cNvSpPr/>
            <p:nvPr/>
          </p:nvSpPr>
          <p:spPr>
            <a:xfrm>
              <a:off x="9238654" y="3314472"/>
              <a:ext cx="422031" cy="46492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ight Bracket 46">
              <a:extLst>
                <a:ext uri="{FF2B5EF4-FFF2-40B4-BE49-F238E27FC236}">
                  <a16:creationId xmlns:a16="http://schemas.microsoft.com/office/drawing/2014/main" id="{5635CFE8-A1C4-744E-BA32-9D576391EE23}"/>
                </a:ext>
              </a:extLst>
            </p:cNvPr>
            <p:cNvSpPr/>
            <p:nvPr/>
          </p:nvSpPr>
          <p:spPr>
            <a:xfrm rot="16200000">
              <a:off x="5834182" y="1226411"/>
              <a:ext cx="246190" cy="3481754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604FA28-589A-F74E-8383-1E2DB5DFD379}"/>
                </a:ext>
              </a:extLst>
            </p:cNvPr>
            <p:cNvSpPr txBox="1"/>
            <p:nvPr/>
          </p:nvSpPr>
          <p:spPr>
            <a:xfrm>
              <a:off x="4788206" y="2475610"/>
              <a:ext cx="23381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ääritä oikea ongelma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24004DE-28AC-2F4C-85FC-64A39A644BD7}"/>
                </a:ext>
              </a:extLst>
            </p:cNvPr>
            <p:cNvSpPr txBox="1"/>
            <p:nvPr/>
          </p:nvSpPr>
          <p:spPr>
            <a:xfrm>
              <a:off x="8269960" y="2475610"/>
              <a:ext cx="24468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otoile ratkaisu oikein</a:t>
              </a:r>
            </a:p>
          </p:txBody>
        </p:sp>
        <p:sp>
          <p:nvSpPr>
            <p:cNvPr id="50" name="Right Bracket 49">
              <a:extLst>
                <a:ext uri="{FF2B5EF4-FFF2-40B4-BE49-F238E27FC236}">
                  <a16:creationId xmlns:a16="http://schemas.microsoft.com/office/drawing/2014/main" id="{4806F823-D2D5-3648-800F-8F18B547CB6D}"/>
                </a:ext>
              </a:extLst>
            </p:cNvPr>
            <p:cNvSpPr/>
            <p:nvPr/>
          </p:nvSpPr>
          <p:spPr>
            <a:xfrm rot="16200000">
              <a:off x="9326574" y="1223749"/>
              <a:ext cx="246190" cy="3481756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2462277-74F6-E642-BF6E-73D2B39A8DC4}"/>
                </a:ext>
              </a:extLst>
            </p:cNvPr>
            <p:cNvSpPr txBox="1"/>
            <p:nvPr/>
          </p:nvSpPr>
          <p:spPr>
            <a:xfrm>
              <a:off x="4216400" y="4190106"/>
              <a:ext cx="174087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Ymmärrä nykyhaastee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voitetilan ymmärry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jaukse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ktat ja fiktio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Yhteinen sitoutuminen kehitystyöhö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ttarit ja lähtöarvot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345CF81-6B12-7342-BFD6-1109B8DEB837}"/>
                </a:ext>
              </a:extLst>
            </p:cNvPr>
            <p:cNvSpPr txBox="1"/>
            <p:nvPr/>
          </p:nvSpPr>
          <p:spPr>
            <a:xfrm>
              <a:off x="4216399" y="5456379"/>
              <a:ext cx="174087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öytätutkim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yselytutkim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dosryhmäanalyys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astattelu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yöpaj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lvelupolut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F35B38-5200-5C4F-AE34-2B97D908E26B}"/>
                </a:ext>
              </a:extLst>
            </p:cNvPr>
            <p:cNvSpPr txBox="1"/>
            <p:nvPr/>
          </p:nvSpPr>
          <p:spPr>
            <a:xfrm>
              <a:off x="3269176" y="4584164"/>
              <a:ext cx="7797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tä ?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060B375-7EBD-0F40-ADD0-B479812A071B}"/>
                </a:ext>
              </a:extLst>
            </p:cNvPr>
            <p:cNvSpPr txBox="1"/>
            <p:nvPr/>
          </p:nvSpPr>
          <p:spPr>
            <a:xfrm>
              <a:off x="3205698" y="5680016"/>
              <a:ext cx="9067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ten ?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C9CBBA1-6E0A-C24A-89DA-9D4372901D7C}"/>
                </a:ext>
              </a:extLst>
            </p:cNvPr>
            <p:cNvSpPr txBox="1"/>
            <p:nvPr/>
          </p:nvSpPr>
          <p:spPr>
            <a:xfrm>
              <a:off x="5967914" y="4184761"/>
              <a:ext cx="174087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nnista todelliset tarpee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ajenna haasteen ymmärrystä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öydä piilevät haasteet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0A17241-B027-784D-908A-88C0E67EE470}"/>
                </a:ext>
              </a:extLst>
            </p:cNvPr>
            <p:cNvSpPr txBox="1"/>
            <p:nvPr/>
          </p:nvSpPr>
          <p:spPr>
            <a:xfrm>
              <a:off x="5967913" y="5456379"/>
              <a:ext cx="174087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astattelu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vainnoint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yöpaj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line-etnografi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ne..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81826F0-623B-0645-8CAA-E166F0D24078}"/>
                </a:ext>
              </a:extLst>
            </p:cNvPr>
            <p:cNvSpPr txBox="1"/>
            <p:nvPr/>
          </p:nvSpPr>
          <p:spPr>
            <a:xfrm>
              <a:off x="7708790" y="4169255"/>
              <a:ext cx="174087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ihtoehtoiset ratkaisu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totyypi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rvonluonnin arviot eri toteutustavoill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X/UI (Käyttäjäkokemus / Käyttöliittymä)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16BCFFA-2B44-DA4F-9DDA-0CDB390A8F39}"/>
                </a:ext>
              </a:extLst>
            </p:cNvPr>
            <p:cNvSpPr txBox="1"/>
            <p:nvPr/>
          </p:nvSpPr>
          <p:spPr>
            <a:xfrm>
              <a:off x="7719427" y="5444892"/>
              <a:ext cx="174087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ehittämistyöpaj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deointitekniik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uvakäsikirjoit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äyttötapaukset ja skenaario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äpikävely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peat kokeilut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27C8967-AEC9-8048-BBC5-02908787FF42}"/>
                </a:ext>
              </a:extLst>
            </p:cNvPr>
            <p:cNvSpPr txBox="1"/>
            <p:nvPr/>
          </p:nvSpPr>
          <p:spPr>
            <a:xfrm>
              <a:off x="9460304" y="4184761"/>
              <a:ext cx="174087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tkaisun viimeistely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eut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lotoint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nistumisen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ttarointi</a:t>
              </a: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82CBEAB-E81B-E24B-A300-E26EDB66E2EC}"/>
                </a:ext>
              </a:extLst>
            </p:cNvPr>
            <p:cNvSpPr txBox="1"/>
            <p:nvPr/>
          </p:nvSpPr>
          <p:spPr>
            <a:xfrm>
              <a:off x="9460303" y="5414871"/>
              <a:ext cx="174087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nvas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yökalu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äyttäjätesta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lotoint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otteistamine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lvelukuvau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lvelukäsikirja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adun arviointi ja mittaaminen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2C3434B-C6F0-924C-9332-FD136920659C}"/>
                </a:ext>
              </a:extLst>
            </p:cNvPr>
            <p:cNvSpPr/>
            <p:nvPr/>
          </p:nvSpPr>
          <p:spPr>
            <a:xfrm>
              <a:off x="11316994" y="3091058"/>
              <a:ext cx="852749" cy="1002323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lvelu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otanto</a:t>
              </a:r>
            </a:p>
          </p:txBody>
        </p:sp>
        <p:sp>
          <p:nvSpPr>
            <p:cNvPr id="65" name="Right Arrow 64">
              <a:extLst>
                <a:ext uri="{FF2B5EF4-FFF2-40B4-BE49-F238E27FC236}">
                  <a16:creationId xmlns:a16="http://schemas.microsoft.com/office/drawing/2014/main" id="{4ABFFB00-B7DB-5B41-B026-3E215DF0FE06}"/>
                </a:ext>
              </a:extLst>
            </p:cNvPr>
            <p:cNvSpPr/>
            <p:nvPr/>
          </p:nvSpPr>
          <p:spPr>
            <a:xfrm>
              <a:off x="11042755" y="3377481"/>
              <a:ext cx="422031" cy="464929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CE08381-76FA-A34B-B5CC-10689D01A95C}"/>
              </a:ext>
            </a:extLst>
          </p:cNvPr>
          <p:cNvSpPr/>
          <p:nvPr/>
        </p:nvSpPr>
        <p:spPr>
          <a:xfrm>
            <a:off x="83536" y="2686619"/>
            <a:ext cx="1188864" cy="527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äyttäjä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D5A188-B1E8-E64E-8F69-DC07426A8DD4}"/>
              </a:ext>
            </a:extLst>
          </p:cNvPr>
          <p:cNvSpPr/>
          <p:nvPr/>
        </p:nvSpPr>
        <p:spPr>
          <a:xfrm>
            <a:off x="81339" y="3328450"/>
            <a:ext cx="1188864" cy="527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kehittäjä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C67891E-BE76-9643-BC88-2FB1DB0371CE}"/>
              </a:ext>
            </a:extLst>
          </p:cNvPr>
          <p:cNvSpPr/>
          <p:nvPr/>
        </p:nvSpPr>
        <p:spPr>
          <a:xfrm>
            <a:off x="92332" y="3970281"/>
            <a:ext cx="1188864" cy="5275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kaat</a:t>
            </a:r>
          </a:p>
        </p:txBody>
      </p:sp>
    </p:spTree>
    <p:extLst>
      <p:ext uri="{BB962C8B-B14F-4D97-AF65-F5344CB8AC3E}">
        <p14:creationId xmlns:p14="http://schemas.microsoft.com/office/powerpoint/2010/main" val="15546477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A9757-B631-B14C-AE9D-7561DED22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937" y="243557"/>
            <a:ext cx="10328031" cy="1500936"/>
          </a:xfrm>
        </p:spPr>
        <p:txBody>
          <a:bodyPr/>
          <a:lstStyle/>
          <a:p>
            <a:r>
              <a:rPr lang="fi-FI" dirty="0"/>
              <a:t>Digikehitysmalli ja liittyvät rooli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0EFB4A-04CA-894D-AAAF-9DF4413C42B3}"/>
              </a:ext>
            </a:extLst>
          </p:cNvPr>
          <p:cNvGrpSpPr/>
          <p:nvPr/>
        </p:nvGrpSpPr>
        <p:grpSpPr>
          <a:xfrm>
            <a:off x="210548" y="2705451"/>
            <a:ext cx="11770904" cy="3094890"/>
            <a:chOff x="81339" y="2080163"/>
            <a:chExt cx="11770904" cy="309489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17A0B3F-9AD8-5C4E-8E1D-1D7FDB32965F}"/>
                </a:ext>
              </a:extLst>
            </p:cNvPr>
            <p:cNvGrpSpPr/>
            <p:nvPr/>
          </p:nvGrpSpPr>
          <p:grpSpPr>
            <a:xfrm>
              <a:off x="1173283" y="2080163"/>
              <a:ext cx="10678960" cy="3094890"/>
              <a:chOff x="1490783" y="2044780"/>
              <a:chExt cx="10678960" cy="3094890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6753D73-D12D-284A-97FC-8F4CB9ECA994}"/>
                  </a:ext>
                </a:extLst>
              </p:cNvPr>
              <p:cNvSpPr/>
              <p:nvPr/>
            </p:nvSpPr>
            <p:spPr>
              <a:xfrm>
                <a:off x="1490783" y="2044780"/>
                <a:ext cx="2725617" cy="3094890"/>
              </a:xfrm>
              <a:custGeom>
                <a:avLst/>
                <a:gdLst>
                  <a:gd name="connsiteX0" fmla="*/ 0 w 3622431"/>
                  <a:gd name="connsiteY0" fmla="*/ 0 h 2373922"/>
                  <a:gd name="connsiteX1" fmla="*/ 3622431 w 3622431"/>
                  <a:gd name="connsiteY1" fmla="*/ 0 h 2373922"/>
                  <a:gd name="connsiteX2" fmla="*/ 3622431 w 3622431"/>
                  <a:gd name="connsiteY2" fmla="*/ 2373922 h 2373922"/>
                  <a:gd name="connsiteX3" fmla="*/ 0 w 3622431"/>
                  <a:gd name="connsiteY3" fmla="*/ 2373922 h 2373922"/>
                  <a:gd name="connsiteX4" fmla="*/ 0 w 3622431"/>
                  <a:gd name="connsiteY4" fmla="*/ 0 h 2373922"/>
                  <a:gd name="connsiteX0" fmla="*/ 0 w 3622431"/>
                  <a:gd name="connsiteY0" fmla="*/ 0 h 2373922"/>
                  <a:gd name="connsiteX1" fmla="*/ 3543300 w 3622431"/>
                  <a:gd name="connsiteY1" fmla="*/ 1099038 h 2373922"/>
                  <a:gd name="connsiteX2" fmla="*/ 3622431 w 3622431"/>
                  <a:gd name="connsiteY2" fmla="*/ 2373922 h 2373922"/>
                  <a:gd name="connsiteX3" fmla="*/ 0 w 3622431"/>
                  <a:gd name="connsiteY3" fmla="*/ 2373922 h 2373922"/>
                  <a:gd name="connsiteX4" fmla="*/ 0 w 3622431"/>
                  <a:gd name="connsiteY4" fmla="*/ 0 h 2373922"/>
                  <a:gd name="connsiteX0" fmla="*/ 0 w 3578469"/>
                  <a:gd name="connsiteY0" fmla="*/ 0 h 2373922"/>
                  <a:gd name="connsiteX1" fmla="*/ 3543300 w 3578469"/>
                  <a:gd name="connsiteY1" fmla="*/ 1099038 h 2373922"/>
                  <a:gd name="connsiteX2" fmla="*/ 3578469 w 3578469"/>
                  <a:gd name="connsiteY2" fmla="*/ 1714499 h 2373922"/>
                  <a:gd name="connsiteX3" fmla="*/ 0 w 3578469"/>
                  <a:gd name="connsiteY3" fmla="*/ 2373922 h 2373922"/>
                  <a:gd name="connsiteX4" fmla="*/ 0 w 3578469"/>
                  <a:gd name="connsiteY4" fmla="*/ 0 h 2373922"/>
                  <a:gd name="connsiteX0" fmla="*/ 0 w 3569677"/>
                  <a:gd name="connsiteY0" fmla="*/ 0 h 2373922"/>
                  <a:gd name="connsiteX1" fmla="*/ 3543300 w 3569677"/>
                  <a:gd name="connsiteY1" fmla="*/ 1099038 h 2373922"/>
                  <a:gd name="connsiteX2" fmla="*/ 3569677 w 3569677"/>
                  <a:gd name="connsiteY2" fmla="*/ 1960683 h 2373922"/>
                  <a:gd name="connsiteX3" fmla="*/ 0 w 3569677"/>
                  <a:gd name="connsiteY3" fmla="*/ 2373922 h 2373922"/>
                  <a:gd name="connsiteX4" fmla="*/ 0 w 3569677"/>
                  <a:gd name="connsiteY4" fmla="*/ 0 h 2373922"/>
                  <a:gd name="connsiteX0" fmla="*/ 0 w 3569677"/>
                  <a:gd name="connsiteY0" fmla="*/ 0 h 2373922"/>
                  <a:gd name="connsiteX1" fmla="*/ 3560885 w 3569677"/>
                  <a:gd name="connsiteY1" fmla="*/ 650630 h 2373922"/>
                  <a:gd name="connsiteX2" fmla="*/ 3569677 w 3569677"/>
                  <a:gd name="connsiteY2" fmla="*/ 1960683 h 2373922"/>
                  <a:gd name="connsiteX3" fmla="*/ 0 w 3569677"/>
                  <a:gd name="connsiteY3" fmla="*/ 2373922 h 2373922"/>
                  <a:gd name="connsiteX4" fmla="*/ 0 w 3569677"/>
                  <a:gd name="connsiteY4" fmla="*/ 0 h 2373922"/>
                  <a:gd name="connsiteX0" fmla="*/ 0 w 3578469"/>
                  <a:gd name="connsiteY0" fmla="*/ 0 h 2373922"/>
                  <a:gd name="connsiteX1" fmla="*/ 3560885 w 3578469"/>
                  <a:gd name="connsiteY1" fmla="*/ 650630 h 2373922"/>
                  <a:gd name="connsiteX2" fmla="*/ 3578469 w 3578469"/>
                  <a:gd name="connsiteY2" fmla="*/ 1644160 h 2373922"/>
                  <a:gd name="connsiteX3" fmla="*/ 0 w 3578469"/>
                  <a:gd name="connsiteY3" fmla="*/ 2373922 h 2373922"/>
                  <a:gd name="connsiteX4" fmla="*/ 0 w 3578469"/>
                  <a:gd name="connsiteY4" fmla="*/ 0 h 2373922"/>
                  <a:gd name="connsiteX0" fmla="*/ 35169 w 3578469"/>
                  <a:gd name="connsiteY0" fmla="*/ 0 h 2795953"/>
                  <a:gd name="connsiteX1" fmla="*/ 3560885 w 3578469"/>
                  <a:gd name="connsiteY1" fmla="*/ 1072661 h 2795953"/>
                  <a:gd name="connsiteX2" fmla="*/ 3578469 w 3578469"/>
                  <a:gd name="connsiteY2" fmla="*/ 2066191 h 2795953"/>
                  <a:gd name="connsiteX3" fmla="*/ 0 w 3578469"/>
                  <a:gd name="connsiteY3" fmla="*/ 2795953 h 2795953"/>
                  <a:gd name="connsiteX4" fmla="*/ 35169 w 3578469"/>
                  <a:gd name="connsiteY4" fmla="*/ 0 h 2795953"/>
                  <a:gd name="connsiteX0" fmla="*/ 43961 w 3587261"/>
                  <a:gd name="connsiteY0" fmla="*/ 0 h 3103683"/>
                  <a:gd name="connsiteX1" fmla="*/ 3569677 w 3587261"/>
                  <a:gd name="connsiteY1" fmla="*/ 1072661 h 3103683"/>
                  <a:gd name="connsiteX2" fmla="*/ 3587261 w 3587261"/>
                  <a:gd name="connsiteY2" fmla="*/ 2066191 h 3103683"/>
                  <a:gd name="connsiteX3" fmla="*/ 0 w 3587261"/>
                  <a:gd name="connsiteY3" fmla="*/ 3103683 h 3103683"/>
                  <a:gd name="connsiteX4" fmla="*/ 43961 w 3587261"/>
                  <a:gd name="connsiteY4" fmla="*/ 0 h 3103683"/>
                  <a:gd name="connsiteX0" fmla="*/ 0 w 3604847"/>
                  <a:gd name="connsiteY0" fmla="*/ 0 h 3077306"/>
                  <a:gd name="connsiteX1" fmla="*/ 3587263 w 3604847"/>
                  <a:gd name="connsiteY1" fmla="*/ 1046284 h 3077306"/>
                  <a:gd name="connsiteX2" fmla="*/ 3604847 w 3604847"/>
                  <a:gd name="connsiteY2" fmla="*/ 2039814 h 3077306"/>
                  <a:gd name="connsiteX3" fmla="*/ 17586 w 3604847"/>
                  <a:gd name="connsiteY3" fmla="*/ 3077306 h 3077306"/>
                  <a:gd name="connsiteX4" fmla="*/ 0 w 3604847"/>
                  <a:gd name="connsiteY4" fmla="*/ 0 h 3077306"/>
                  <a:gd name="connsiteX0" fmla="*/ 26375 w 3631222"/>
                  <a:gd name="connsiteY0" fmla="*/ 0 h 3077306"/>
                  <a:gd name="connsiteX1" fmla="*/ 3613638 w 3631222"/>
                  <a:gd name="connsiteY1" fmla="*/ 1046284 h 3077306"/>
                  <a:gd name="connsiteX2" fmla="*/ 3631222 w 3631222"/>
                  <a:gd name="connsiteY2" fmla="*/ 2039814 h 3077306"/>
                  <a:gd name="connsiteX3" fmla="*/ 0 w 3631222"/>
                  <a:gd name="connsiteY3" fmla="*/ 3077306 h 3077306"/>
                  <a:gd name="connsiteX4" fmla="*/ 26375 w 3631222"/>
                  <a:gd name="connsiteY4" fmla="*/ 0 h 3077306"/>
                  <a:gd name="connsiteX0" fmla="*/ 0 w 3604847"/>
                  <a:gd name="connsiteY0" fmla="*/ 0 h 3094890"/>
                  <a:gd name="connsiteX1" fmla="*/ 3587263 w 3604847"/>
                  <a:gd name="connsiteY1" fmla="*/ 1046284 h 3094890"/>
                  <a:gd name="connsiteX2" fmla="*/ 3604847 w 3604847"/>
                  <a:gd name="connsiteY2" fmla="*/ 2039814 h 3094890"/>
                  <a:gd name="connsiteX3" fmla="*/ 2 w 3604847"/>
                  <a:gd name="connsiteY3" fmla="*/ 3094890 h 3094890"/>
                  <a:gd name="connsiteX4" fmla="*/ 0 w 3604847"/>
                  <a:gd name="connsiteY4" fmla="*/ 0 h 3094890"/>
                  <a:gd name="connsiteX0" fmla="*/ 0 w 3604847"/>
                  <a:gd name="connsiteY0" fmla="*/ 0 h 3094890"/>
                  <a:gd name="connsiteX1" fmla="*/ 3598893 w 3604847"/>
                  <a:gd name="connsiteY1" fmla="*/ 1055077 h 3094890"/>
                  <a:gd name="connsiteX2" fmla="*/ 3604847 w 3604847"/>
                  <a:gd name="connsiteY2" fmla="*/ 2039814 h 3094890"/>
                  <a:gd name="connsiteX3" fmla="*/ 2 w 3604847"/>
                  <a:gd name="connsiteY3" fmla="*/ 3094890 h 3094890"/>
                  <a:gd name="connsiteX4" fmla="*/ 0 w 3604847"/>
                  <a:gd name="connsiteY4" fmla="*/ 0 h 3094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04847" h="3094890">
                    <a:moveTo>
                      <a:pt x="0" y="0"/>
                    </a:moveTo>
                    <a:lnTo>
                      <a:pt x="3598893" y="1055077"/>
                    </a:lnTo>
                    <a:cubicBezTo>
                      <a:pt x="3601824" y="1491761"/>
                      <a:pt x="3601916" y="1603130"/>
                      <a:pt x="3604847" y="2039814"/>
                    </a:cubicBezTo>
                    <a:lnTo>
                      <a:pt x="2" y="3094890"/>
                    </a:lnTo>
                    <a:cubicBezTo>
                      <a:pt x="1" y="2063260"/>
                      <a:pt x="1" y="1031630"/>
                      <a:pt x="0" y="0"/>
                    </a:cubicBezTo>
                    <a:close/>
                  </a:path>
                </a:pathLst>
              </a:cu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ehitysideat</a:t>
                </a: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D3262C4F-572D-0842-9112-0C0BA2E65D91}"/>
                  </a:ext>
                </a:extLst>
              </p:cNvPr>
              <p:cNvSpPr/>
              <p:nvPr/>
            </p:nvSpPr>
            <p:spPr>
              <a:xfrm>
                <a:off x="4216400" y="3091061"/>
                <a:ext cx="1740877" cy="1002323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äärittele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D52BD83-6CF4-5042-8070-7415C240C1F6}"/>
                  </a:ext>
                </a:extLst>
              </p:cNvPr>
              <p:cNvSpPr/>
              <p:nvPr/>
            </p:nvSpPr>
            <p:spPr>
              <a:xfrm>
                <a:off x="5957277" y="3091060"/>
                <a:ext cx="1740877" cy="1002323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utki ja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iteytä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FE27E94-FA5B-B54A-97AF-64BCC6F44897}"/>
                  </a:ext>
                </a:extLst>
              </p:cNvPr>
              <p:cNvSpPr/>
              <p:nvPr/>
            </p:nvSpPr>
            <p:spPr>
              <a:xfrm>
                <a:off x="7698154" y="3091059"/>
                <a:ext cx="1740877" cy="1002323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deoi, kuvaa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ja kokeile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F2DEA73-AFC7-CC4F-8318-DA7841324F36}"/>
                  </a:ext>
                </a:extLst>
              </p:cNvPr>
              <p:cNvSpPr/>
              <p:nvPr/>
            </p:nvSpPr>
            <p:spPr>
              <a:xfrm>
                <a:off x="1780931" y="2589904"/>
                <a:ext cx="474784" cy="404446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667E5F4A-C8F5-D248-9CC5-F9220274CD59}"/>
                  </a:ext>
                </a:extLst>
              </p:cNvPr>
              <p:cNvSpPr/>
              <p:nvPr/>
            </p:nvSpPr>
            <p:spPr>
              <a:xfrm>
                <a:off x="1701802" y="3240542"/>
                <a:ext cx="316521" cy="298932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97A1075F-C6CE-3647-8258-CE024A8F80BE}"/>
                  </a:ext>
                </a:extLst>
              </p:cNvPr>
              <p:cNvSpPr/>
              <p:nvPr/>
            </p:nvSpPr>
            <p:spPr>
              <a:xfrm>
                <a:off x="1807308" y="4190106"/>
                <a:ext cx="316521" cy="298932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BCB21AD0-73B1-AD45-8AF1-4850A2BE0B46}"/>
                  </a:ext>
                </a:extLst>
              </p:cNvPr>
              <p:cNvSpPr/>
              <p:nvPr/>
            </p:nvSpPr>
            <p:spPr>
              <a:xfrm>
                <a:off x="1638056" y="4612135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277ADE5-D145-DD4D-95FE-E5FD719F3EB7}"/>
                  </a:ext>
                </a:extLst>
              </p:cNvPr>
              <p:cNvSpPr/>
              <p:nvPr/>
            </p:nvSpPr>
            <p:spPr>
              <a:xfrm>
                <a:off x="2378808" y="3029516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A8EC828E-F769-EF4B-92A1-3C6D69463561}"/>
                  </a:ext>
                </a:extLst>
              </p:cNvPr>
              <p:cNvSpPr/>
              <p:nvPr/>
            </p:nvSpPr>
            <p:spPr>
              <a:xfrm>
                <a:off x="2853592" y="2967964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07D2D66B-F2AE-B44C-B58D-9A6B821B262B}"/>
                  </a:ext>
                </a:extLst>
              </p:cNvPr>
              <p:cNvSpPr/>
              <p:nvPr/>
            </p:nvSpPr>
            <p:spPr>
              <a:xfrm>
                <a:off x="3082191" y="3891148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B3AC12F4-0A36-9542-8702-4DF9A7B973F8}"/>
                  </a:ext>
                </a:extLst>
              </p:cNvPr>
              <p:cNvSpPr/>
              <p:nvPr/>
            </p:nvSpPr>
            <p:spPr>
              <a:xfrm>
                <a:off x="3297604" y="3068282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498A0976-33DD-1E4D-90B8-B67E8728A8A5}"/>
                  </a:ext>
                </a:extLst>
              </p:cNvPr>
              <p:cNvSpPr/>
              <p:nvPr/>
            </p:nvSpPr>
            <p:spPr>
              <a:xfrm>
                <a:off x="1877648" y="3782272"/>
                <a:ext cx="228599" cy="24619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8B5A96F-4354-3E40-8686-5DE752122708}"/>
                  </a:ext>
                </a:extLst>
              </p:cNvPr>
              <p:cNvSpPr/>
              <p:nvPr/>
            </p:nvSpPr>
            <p:spPr>
              <a:xfrm>
                <a:off x="2311956" y="4005449"/>
                <a:ext cx="457198" cy="48358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Right Arrow 40">
                <a:extLst>
                  <a:ext uri="{FF2B5EF4-FFF2-40B4-BE49-F238E27FC236}">
                    <a16:creationId xmlns:a16="http://schemas.microsoft.com/office/drawing/2014/main" id="{109D042E-C8F2-0141-962F-334D391B68D6}"/>
                  </a:ext>
                </a:extLst>
              </p:cNvPr>
              <p:cNvSpPr/>
              <p:nvPr/>
            </p:nvSpPr>
            <p:spPr>
              <a:xfrm>
                <a:off x="4005384" y="3314472"/>
                <a:ext cx="422031" cy="46492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Right Arrow 41">
                <a:extLst>
                  <a:ext uri="{FF2B5EF4-FFF2-40B4-BE49-F238E27FC236}">
                    <a16:creationId xmlns:a16="http://schemas.microsoft.com/office/drawing/2014/main" id="{D46D3769-0D62-D54A-89D5-6A971823DB2D}"/>
                  </a:ext>
                </a:extLst>
              </p:cNvPr>
              <p:cNvSpPr/>
              <p:nvPr/>
            </p:nvSpPr>
            <p:spPr>
              <a:xfrm>
                <a:off x="5738392" y="3314472"/>
                <a:ext cx="422031" cy="46492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Right Arrow 42">
                <a:extLst>
                  <a:ext uri="{FF2B5EF4-FFF2-40B4-BE49-F238E27FC236}">
                    <a16:creationId xmlns:a16="http://schemas.microsoft.com/office/drawing/2014/main" id="{5CAB452E-5095-224F-B3F3-48545EBB0C07}"/>
                  </a:ext>
                </a:extLst>
              </p:cNvPr>
              <p:cNvSpPr/>
              <p:nvPr/>
            </p:nvSpPr>
            <p:spPr>
              <a:xfrm>
                <a:off x="7489908" y="3314472"/>
                <a:ext cx="422031" cy="46492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83C64AF-56FC-E747-A288-220D2DD623B3}"/>
                  </a:ext>
                </a:extLst>
              </p:cNvPr>
              <p:cNvSpPr/>
              <p:nvPr/>
            </p:nvSpPr>
            <p:spPr>
              <a:xfrm>
                <a:off x="9449670" y="3091058"/>
                <a:ext cx="1740877" cy="1002323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staa ja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oteuta</a:t>
                </a:r>
              </a:p>
            </p:txBody>
          </p:sp>
          <p:sp>
            <p:nvSpPr>
              <p:cNvPr id="46" name="Right Arrow 45">
                <a:extLst>
                  <a:ext uri="{FF2B5EF4-FFF2-40B4-BE49-F238E27FC236}">
                    <a16:creationId xmlns:a16="http://schemas.microsoft.com/office/drawing/2014/main" id="{35D09F00-F13B-EA4A-A454-2AD67D8336AD}"/>
                  </a:ext>
                </a:extLst>
              </p:cNvPr>
              <p:cNvSpPr/>
              <p:nvPr/>
            </p:nvSpPr>
            <p:spPr>
              <a:xfrm>
                <a:off x="9238654" y="3314472"/>
                <a:ext cx="422031" cy="46492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Right Bracket 46">
                <a:extLst>
                  <a:ext uri="{FF2B5EF4-FFF2-40B4-BE49-F238E27FC236}">
                    <a16:creationId xmlns:a16="http://schemas.microsoft.com/office/drawing/2014/main" id="{5635CFE8-A1C4-744E-BA32-9D576391EE23}"/>
                  </a:ext>
                </a:extLst>
              </p:cNvPr>
              <p:cNvSpPr/>
              <p:nvPr/>
            </p:nvSpPr>
            <p:spPr>
              <a:xfrm rot="16200000">
                <a:off x="5834182" y="1226411"/>
                <a:ext cx="246190" cy="3481754"/>
              </a:xfrm>
              <a:prstGeom prst="rightBracket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604FA28-589A-F74E-8383-1E2DB5DFD379}"/>
                  </a:ext>
                </a:extLst>
              </p:cNvPr>
              <p:cNvSpPr txBox="1"/>
              <p:nvPr/>
            </p:nvSpPr>
            <p:spPr>
              <a:xfrm>
                <a:off x="4788206" y="2475610"/>
                <a:ext cx="233814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ääritä oikea ongelma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824004DE-28AC-2F4C-85FC-64A39A644BD7}"/>
                  </a:ext>
                </a:extLst>
              </p:cNvPr>
              <p:cNvSpPr txBox="1"/>
              <p:nvPr/>
            </p:nvSpPr>
            <p:spPr>
              <a:xfrm>
                <a:off x="8269960" y="2475610"/>
                <a:ext cx="244682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uotoile ratkaisu oikein</a:t>
                </a:r>
              </a:p>
            </p:txBody>
          </p:sp>
          <p:sp>
            <p:nvSpPr>
              <p:cNvPr id="50" name="Right Bracket 49">
                <a:extLst>
                  <a:ext uri="{FF2B5EF4-FFF2-40B4-BE49-F238E27FC236}">
                    <a16:creationId xmlns:a16="http://schemas.microsoft.com/office/drawing/2014/main" id="{4806F823-D2D5-3648-800F-8F18B547CB6D}"/>
                  </a:ext>
                </a:extLst>
              </p:cNvPr>
              <p:cNvSpPr/>
              <p:nvPr/>
            </p:nvSpPr>
            <p:spPr>
              <a:xfrm rot="16200000">
                <a:off x="9326574" y="1223749"/>
                <a:ext cx="246190" cy="3481756"/>
              </a:xfrm>
              <a:prstGeom prst="rightBracket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22C3434B-C6F0-924C-9332-FD136920659C}"/>
                  </a:ext>
                </a:extLst>
              </p:cNvPr>
              <p:cNvSpPr/>
              <p:nvPr/>
            </p:nvSpPr>
            <p:spPr>
              <a:xfrm>
                <a:off x="11316994" y="3091058"/>
                <a:ext cx="852749" cy="1002323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lvelu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uotanto</a:t>
                </a:r>
              </a:p>
            </p:txBody>
          </p:sp>
          <p:sp>
            <p:nvSpPr>
              <p:cNvPr id="65" name="Right Arrow 64">
                <a:extLst>
                  <a:ext uri="{FF2B5EF4-FFF2-40B4-BE49-F238E27FC236}">
                    <a16:creationId xmlns:a16="http://schemas.microsoft.com/office/drawing/2014/main" id="{4ABFFB00-B7DB-5B41-B026-3E215DF0FE06}"/>
                  </a:ext>
                </a:extLst>
              </p:cNvPr>
              <p:cNvSpPr/>
              <p:nvPr/>
            </p:nvSpPr>
            <p:spPr>
              <a:xfrm>
                <a:off x="11042755" y="3377481"/>
                <a:ext cx="422031" cy="464929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CE08381-76FA-A34B-B5CC-10689D01A95C}"/>
                </a:ext>
              </a:extLst>
            </p:cNvPr>
            <p:cNvSpPr/>
            <p:nvPr/>
          </p:nvSpPr>
          <p:spPr>
            <a:xfrm>
              <a:off x="83536" y="2686619"/>
              <a:ext cx="1188864" cy="5275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äyttäjä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AD5A188-B1E8-E64E-8F69-DC07426A8DD4}"/>
                </a:ext>
              </a:extLst>
            </p:cNvPr>
            <p:cNvSpPr/>
            <p:nvPr/>
          </p:nvSpPr>
          <p:spPr>
            <a:xfrm>
              <a:off x="81339" y="3328450"/>
              <a:ext cx="1188864" cy="5275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ä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C67891E-BE76-9643-BC88-2FB1DB0371CE}"/>
                </a:ext>
              </a:extLst>
            </p:cNvPr>
            <p:cNvSpPr/>
            <p:nvPr/>
          </p:nvSpPr>
          <p:spPr>
            <a:xfrm>
              <a:off x="92332" y="3970281"/>
              <a:ext cx="1188864" cy="52753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iakkaat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9747309E-3B3A-CC4A-93B9-91916B27CBE7}"/>
              </a:ext>
            </a:extLst>
          </p:cNvPr>
          <p:cNvSpPr/>
          <p:nvPr/>
        </p:nvSpPr>
        <p:spPr>
          <a:xfrm>
            <a:off x="4018963" y="1837267"/>
            <a:ext cx="6972364" cy="121994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 2.0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B111EB6-EC30-584F-B9D7-CE1F913D03C4}"/>
              </a:ext>
            </a:extLst>
          </p:cNvPr>
          <p:cNvSpPr/>
          <p:nvPr/>
        </p:nvSpPr>
        <p:spPr>
          <a:xfrm>
            <a:off x="4034318" y="5263322"/>
            <a:ext cx="6972364" cy="87038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muotoiluprosessin roolit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B4C2395-B651-6149-A6E3-31F1F052DACF}"/>
              </a:ext>
            </a:extLst>
          </p:cNvPr>
          <p:cNvGrpSpPr/>
          <p:nvPr/>
        </p:nvGrpSpPr>
        <p:grpSpPr>
          <a:xfrm>
            <a:off x="4996292" y="2255143"/>
            <a:ext cx="4984029" cy="401545"/>
            <a:chOff x="4365989" y="2543150"/>
            <a:chExt cx="4984029" cy="40154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AFCE4AC-59B3-F245-9E00-9283F761A5DC}"/>
                </a:ext>
              </a:extLst>
            </p:cNvPr>
            <p:cNvGrpSpPr/>
            <p:nvPr/>
          </p:nvGrpSpPr>
          <p:grpSpPr>
            <a:xfrm>
              <a:off x="4365989" y="2550285"/>
              <a:ext cx="3709712" cy="394410"/>
              <a:chOff x="4408990" y="2617145"/>
              <a:chExt cx="3709712" cy="39441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1C14A94B-7DCC-6444-A872-6C4F88BEEDBA}"/>
                  </a:ext>
                </a:extLst>
              </p:cNvPr>
              <p:cNvSpPr/>
              <p:nvPr/>
            </p:nvSpPr>
            <p:spPr>
              <a:xfrm>
                <a:off x="5683307" y="2623764"/>
                <a:ext cx="1141111" cy="387791"/>
              </a:xfrm>
              <a:prstGeom prst="rect">
                <a:avLst/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igi-ideoide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nseptointi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872FAB5-E831-184D-869C-33CDADC8A183}"/>
                  </a:ext>
                </a:extLst>
              </p:cNvPr>
              <p:cNvSpPr/>
              <p:nvPr/>
            </p:nvSpPr>
            <p:spPr>
              <a:xfrm>
                <a:off x="6977591" y="2618677"/>
                <a:ext cx="1141111" cy="387791"/>
              </a:xfrm>
              <a:prstGeom prst="rect">
                <a:avLst/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Järkevyystarkastelu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Ja KH-analyysin tuki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662789B1-E641-614A-8B86-A31BF571CC25}"/>
                  </a:ext>
                </a:extLst>
              </p:cNvPr>
              <p:cNvSpPr/>
              <p:nvPr/>
            </p:nvSpPr>
            <p:spPr>
              <a:xfrm>
                <a:off x="4408990" y="2617145"/>
                <a:ext cx="1141111" cy="387791"/>
              </a:xfrm>
              <a:prstGeom prst="rect">
                <a:avLst/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novoinni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uki</a:t>
                </a:r>
              </a:p>
            </p:txBody>
          </p:sp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95D19BD-AC8B-FE40-8CC5-E0607EBC3766}"/>
                </a:ext>
              </a:extLst>
            </p:cNvPr>
            <p:cNvSpPr/>
            <p:nvPr/>
          </p:nvSpPr>
          <p:spPr>
            <a:xfrm>
              <a:off x="8208907" y="2543150"/>
              <a:ext cx="1141111" cy="384150"/>
            </a:xfrm>
            <a:prstGeom prst="rect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salku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llinta ja raportointi</a:t>
              </a:r>
            </a:p>
          </p:txBody>
        </p:sp>
      </p:grpSp>
      <p:sp>
        <p:nvSpPr>
          <p:cNvPr id="27" name="Down Arrow 26">
            <a:extLst>
              <a:ext uri="{FF2B5EF4-FFF2-40B4-BE49-F238E27FC236}">
                <a16:creationId xmlns:a16="http://schemas.microsoft.com/office/drawing/2014/main" id="{96555B87-014B-2F42-8B9D-FB9D6603BF48}"/>
              </a:ext>
            </a:extLst>
          </p:cNvPr>
          <p:cNvSpPr/>
          <p:nvPr/>
        </p:nvSpPr>
        <p:spPr>
          <a:xfrm>
            <a:off x="7309484" y="3025271"/>
            <a:ext cx="422031" cy="42036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Down Arrow 79">
            <a:extLst>
              <a:ext uri="{FF2B5EF4-FFF2-40B4-BE49-F238E27FC236}">
                <a16:creationId xmlns:a16="http://schemas.microsoft.com/office/drawing/2014/main" id="{FB32CE22-A0B7-D14A-BE9A-EBCD541989F5}"/>
              </a:ext>
            </a:extLst>
          </p:cNvPr>
          <p:cNvSpPr/>
          <p:nvPr/>
        </p:nvSpPr>
        <p:spPr>
          <a:xfrm rot="10800000">
            <a:off x="7294129" y="4850777"/>
            <a:ext cx="422031" cy="2927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Bent Arrow 35">
            <a:extLst>
              <a:ext uri="{FF2B5EF4-FFF2-40B4-BE49-F238E27FC236}">
                <a16:creationId xmlns:a16="http://schemas.microsoft.com/office/drawing/2014/main" id="{538DE393-100E-4F49-B1BE-355ECD4EF3C9}"/>
              </a:ext>
            </a:extLst>
          </p:cNvPr>
          <p:cNvSpPr/>
          <p:nvPr/>
        </p:nvSpPr>
        <p:spPr>
          <a:xfrm>
            <a:off x="2889623" y="2344349"/>
            <a:ext cx="1115067" cy="1310672"/>
          </a:xfrm>
          <a:prstGeom prst="ben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Down Arrow 81">
            <a:extLst>
              <a:ext uri="{FF2B5EF4-FFF2-40B4-BE49-F238E27FC236}">
                <a16:creationId xmlns:a16="http://schemas.microsoft.com/office/drawing/2014/main" id="{A1E2453E-6A4F-CB4C-BE3C-6B30B2DB2E94}"/>
              </a:ext>
            </a:extLst>
          </p:cNvPr>
          <p:cNvSpPr/>
          <p:nvPr/>
        </p:nvSpPr>
        <p:spPr>
          <a:xfrm rot="10800000">
            <a:off x="4830826" y="4850778"/>
            <a:ext cx="422031" cy="2927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Down Arrow 82">
            <a:extLst>
              <a:ext uri="{FF2B5EF4-FFF2-40B4-BE49-F238E27FC236}">
                <a16:creationId xmlns:a16="http://schemas.microsoft.com/office/drawing/2014/main" id="{CE9B5C4A-AD3D-0A4E-807E-A89AC8D8D27D}"/>
              </a:ext>
            </a:extLst>
          </p:cNvPr>
          <p:cNvSpPr/>
          <p:nvPr/>
        </p:nvSpPr>
        <p:spPr>
          <a:xfrm rot="10800000">
            <a:off x="9809415" y="4850778"/>
            <a:ext cx="422031" cy="2927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8EF5E89-71D3-EB40-9E29-6BDD827910FE}"/>
              </a:ext>
            </a:extLst>
          </p:cNvPr>
          <p:cNvSpPr/>
          <p:nvPr/>
        </p:nvSpPr>
        <p:spPr>
          <a:xfrm>
            <a:off x="1864696" y="4442335"/>
            <a:ext cx="1604284" cy="32242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ordinointitiimi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A990F5C-CC21-2847-81D4-AE8EAC749BCB}"/>
              </a:ext>
            </a:extLst>
          </p:cNvPr>
          <p:cNvSpPr txBox="1"/>
          <p:nvPr/>
        </p:nvSpPr>
        <p:spPr>
          <a:xfrm>
            <a:off x="1702023" y="2465635"/>
            <a:ext cx="1926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-ideoiden ohja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oimiston koordinointiin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773B5FE5-595C-4F47-A7CD-479F4FAA76FB}"/>
              </a:ext>
            </a:extLst>
          </p:cNvPr>
          <p:cNvSpPr/>
          <p:nvPr/>
        </p:nvSpPr>
        <p:spPr>
          <a:xfrm rot="1055924">
            <a:off x="1258370" y="3216685"/>
            <a:ext cx="2529646" cy="830245"/>
          </a:xfrm>
          <a:prstGeom prst="ellipse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AE42927-34E6-D044-9320-10C5B254048B}"/>
              </a:ext>
            </a:extLst>
          </p:cNvPr>
          <p:cNvSpPr txBox="1"/>
          <p:nvPr/>
        </p:nvSpPr>
        <p:spPr>
          <a:xfrm>
            <a:off x="2084501" y="3338683"/>
            <a:ext cx="784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-ideat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1449B4F8-8C68-D240-BB4B-2904FEBC070C}"/>
              </a:ext>
            </a:extLst>
          </p:cNvPr>
          <p:cNvGrpSpPr/>
          <p:nvPr/>
        </p:nvGrpSpPr>
        <p:grpSpPr>
          <a:xfrm>
            <a:off x="4368706" y="5603135"/>
            <a:ext cx="6279255" cy="394411"/>
            <a:chOff x="4368706" y="5603135"/>
            <a:chExt cx="6279255" cy="39441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BFE1094-EE72-A949-A457-781710E16A88}"/>
                </a:ext>
              </a:extLst>
            </p:cNvPr>
            <p:cNvGrpSpPr/>
            <p:nvPr/>
          </p:nvGrpSpPr>
          <p:grpSpPr>
            <a:xfrm>
              <a:off x="4368706" y="5603135"/>
              <a:ext cx="4987945" cy="394411"/>
              <a:chOff x="4599915" y="5354454"/>
              <a:chExt cx="4978589" cy="394411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805E4B59-0B0F-754C-A284-5E441BA505FA}"/>
                  </a:ext>
                </a:extLst>
              </p:cNvPr>
              <p:cNvGrpSpPr/>
              <p:nvPr/>
            </p:nvGrpSpPr>
            <p:grpSpPr>
              <a:xfrm>
                <a:off x="5868792" y="5354455"/>
                <a:ext cx="3709712" cy="394410"/>
                <a:chOff x="4408990" y="2617145"/>
                <a:chExt cx="3709712" cy="394410"/>
              </a:xfrm>
            </p:grpSpPr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14CFBA1F-17B4-044E-AEEE-1C0C98C65065}"/>
                    </a:ext>
                  </a:extLst>
                </p:cNvPr>
                <p:cNvSpPr/>
                <p:nvPr/>
              </p:nvSpPr>
              <p:spPr>
                <a:xfrm>
                  <a:off x="5683307" y="2623764"/>
                  <a:ext cx="1141111" cy="387791"/>
                </a:xfrm>
                <a:prstGeom prst="rect">
                  <a:avLst/>
                </a:prstGeom>
                <a:ln/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i-FI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äyttäjät</a:t>
                  </a:r>
                </a:p>
              </p:txBody>
            </p:sp>
            <p:sp>
              <p:nvSpPr>
                <p:cNvPr id="75" name="Rectangle 74">
                  <a:extLst>
                    <a:ext uri="{FF2B5EF4-FFF2-40B4-BE49-F238E27FC236}">
                      <a16:creationId xmlns:a16="http://schemas.microsoft.com/office/drawing/2014/main" id="{E3D72A02-3FF1-634F-8E41-AFDF1AD0732A}"/>
                    </a:ext>
                  </a:extLst>
                </p:cNvPr>
                <p:cNvSpPr/>
                <p:nvPr/>
              </p:nvSpPr>
              <p:spPr>
                <a:xfrm>
                  <a:off x="6977591" y="2618677"/>
                  <a:ext cx="1141111" cy="387791"/>
                </a:xfrm>
                <a:prstGeom prst="rect">
                  <a:avLst/>
                </a:prstGeom>
                <a:ln/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i-FI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alvelumuotoilija</a:t>
                  </a: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92ACAC96-49EF-A347-BB4E-4F208317D5C3}"/>
                    </a:ext>
                  </a:extLst>
                </p:cNvPr>
                <p:cNvSpPr/>
                <p:nvPr/>
              </p:nvSpPr>
              <p:spPr>
                <a:xfrm>
                  <a:off x="4408990" y="2617145"/>
                  <a:ext cx="1141111" cy="387791"/>
                </a:xfrm>
                <a:prstGeom prst="rect">
                  <a:avLst/>
                </a:prstGeom>
                <a:ln/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i-FI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igikehittäjät</a:t>
                  </a:r>
                </a:p>
              </p:txBody>
            </p:sp>
          </p:grp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3821291-F0AB-D640-8C1F-0CD75DE6DE81}"/>
                  </a:ext>
                </a:extLst>
              </p:cNvPr>
              <p:cNvSpPr/>
              <p:nvPr/>
            </p:nvSpPr>
            <p:spPr>
              <a:xfrm>
                <a:off x="4599915" y="5354454"/>
                <a:ext cx="1141111" cy="387791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i-FI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uoteomistaja</a:t>
                </a:r>
              </a:p>
            </p:txBody>
          </p:sp>
        </p:grp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86C7158B-71D4-CE43-8567-71628E1F9068}"/>
                </a:ext>
              </a:extLst>
            </p:cNvPr>
            <p:cNvSpPr/>
            <p:nvPr/>
          </p:nvSpPr>
          <p:spPr>
            <a:xfrm>
              <a:off x="9504706" y="5609754"/>
              <a:ext cx="1143255" cy="38779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etohallinto</a:t>
              </a: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8B236C-17FB-D141-82C9-476FD1E70640}"/>
              </a:ext>
            </a:extLst>
          </p:cNvPr>
          <p:cNvCxnSpPr/>
          <p:nvPr/>
        </p:nvCxnSpPr>
        <p:spPr>
          <a:xfrm flipV="1">
            <a:off x="1935538" y="2344349"/>
            <a:ext cx="0" cy="36531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AB6C61A-0BF7-5D4D-B5B9-BFC7F5BF2B2D}"/>
              </a:ext>
            </a:extLst>
          </p:cNvPr>
          <p:cNvCxnSpPr/>
          <p:nvPr/>
        </p:nvCxnSpPr>
        <p:spPr>
          <a:xfrm flipV="1">
            <a:off x="2659263" y="2344349"/>
            <a:ext cx="0" cy="36531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EF01925-B07B-524C-9F8D-87718F00EFEB}"/>
              </a:ext>
            </a:extLst>
          </p:cNvPr>
          <p:cNvCxnSpPr/>
          <p:nvPr/>
        </p:nvCxnSpPr>
        <p:spPr>
          <a:xfrm flipV="1">
            <a:off x="3337912" y="2373547"/>
            <a:ext cx="0" cy="36531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5B5C255-1749-F645-834B-E79F1EA91A49}"/>
              </a:ext>
            </a:extLst>
          </p:cNvPr>
          <p:cNvSpPr/>
          <p:nvPr/>
        </p:nvSpPr>
        <p:spPr>
          <a:xfrm>
            <a:off x="1302492" y="2093976"/>
            <a:ext cx="2326085" cy="250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nen ohjau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81D8E0-923C-03CE-5F2E-6E19EDE693D1}"/>
              </a:ext>
            </a:extLst>
          </p:cNvPr>
          <p:cNvSpPr txBox="1"/>
          <p:nvPr/>
        </p:nvSpPr>
        <p:spPr>
          <a:xfrm>
            <a:off x="6677620" y="2687502"/>
            <a:ext cx="1801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ee prosessia</a:t>
            </a:r>
          </a:p>
        </p:txBody>
      </p:sp>
    </p:spTree>
    <p:extLst>
      <p:ext uri="{BB962C8B-B14F-4D97-AF65-F5344CB8AC3E}">
        <p14:creationId xmlns:p14="http://schemas.microsoft.com/office/powerpoint/2010/main" val="1913313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tkaistava haaste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i-FI" dirty="0"/>
              <a:t>Kaikissa kuntayhtymämme jäsenkunnissa ja -kaupungeissa ikäihmisten osuus väestöstä on suurempi kuin koko maassa keskimäärin, ja määrä kasvaa merkittävästi vuoden 2020 jälkeen</a:t>
            </a:r>
          </a:p>
          <a:p>
            <a:r>
              <a:rPr lang="fi-FI" dirty="0"/>
              <a:t>Väestökehitys johtaa verotulojen vähentymiseen ja palvelutarpeen merkittävään kasvamiseen</a:t>
            </a:r>
          </a:p>
          <a:p>
            <a:r>
              <a:rPr lang="fi-FI" dirty="0"/>
              <a:t>Lisäksi väestö on pienituloista ja runsaasti sairastavaa</a:t>
            </a:r>
          </a:p>
        </p:txBody>
      </p:sp>
    </p:spTree>
    <p:extLst>
      <p:ext uri="{BB962C8B-B14F-4D97-AF65-F5344CB8AC3E}">
        <p14:creationId xmlns:p14="http://schemas.microsoft.com/office/powerpoint/2010/main" val="163856504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0A522-09AB-EF4C-B2A9-46F392E41D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26535" y="2281969"/>
            <a:ext cx="8774230" cy="2779834"/>
          </a:xfrm>
        </p:spPr>
        <p:txBody>
          <a:bodyPr>
            <a:normAutofit fontScale="90000"/>
          </a:bodyPr>
          <a:lstStyle/>
          <a:p>
            <a:r>
              <a:rPr lang="fi-FI" dirty="0"/>
              <a:t>Tunnistetut kehittämistoimenpiteet</a:t>
            </a:r>
          </a:p>
        </p:txBody>
      </p:sp>
    </p:spTree>
    <p:extLst>
      <p:ext uri="{BB962C8B-B14F-4D97-AF65-F5344CB8AC3E}">
        <p14:creationId xmlns:p14="http://schemas.microsoft.com/office/powerpoint/2010/main" val="6446293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F81D28-9D68-6E48-8071-6A7AD7C65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697" y="263858"/>
            <a:ext cx="10990811" cy="1500936"/>
          </a:xfrm>
        </p:spPr>
        <p:txBody>
          <a:bodyPr>
            <a:normAutofit/>
          </a:bodyPr>
          <a:lstStyle/>
          <a:p>
            <a:r>
              <a:rPr lang="fi-FI" dirty="0"/>
              <a:t>Tunnistetut merkittävät kehitystoimenpite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402049-2933-E246-9BB9-2905F0A15DCD}"/>
              </a:ext>
            </a:extLst>
          </p:cNvPr>
          <p:cNvSpPr txBox="1"/>
          <p:nvPr/>
        </p:nvSpPr>
        <p:spPr>
          <a:xfrm>
            <a:off x="1141962" y="1833494"/>
            <a:ext cx="11776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ysteem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4E1A4-3A20-904E-8BDD-643AF50C46B2}"/>
              </a:ext>
            </a:extLst>
          </p:cNvPr>
          <p:cNvSpPr txBox="1"/>
          <p:nvPr/>
        </p:nvSpPr>
        <p:spPr>
          <a:xfrm>
            <a:off x="4900073" y="1814373"/>
            <a:ext cx="12736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hityskohte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87F95-CC84-3D4B-AE4A-44C5DDB2B716}"/>
              </a:ext>
            </a:extLst>
          </p:cNvPr>
          <p:cNvSpPr txBox="1"/>
          <p:nvPr/>
        </p:nvSpPr>
        <p:spPr>
          <a:xfrm>
            <a:off x="8483960" y="1833494"/>
            <a:ext cx="19493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ositeltava toimenpid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13453F0-970C-9D48-9AED-0EE57CC5FCA4}"/>
              </a:ext>
            </a:extLst>
          </p:cNvPr>
          <p:cNvGrpSpPr/>
          <p:nvPr/>
        </p:nvGrpSpPr>
        <p:grpSpPr>
          <a:xfrm>
            <a:off x="507874" y="2213696"/>
            <a:ext cx="11331633" cy="728265"/>
            <a:chOff x="906087" y="2220510"/>
            <a:chExt cx="10432469" cy="72826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A642EF1-2907-584A-B735-69C68D7DE8FD}"/>
                </a:ext>
              </a:extLst>
            </p:cNvPr>
            <p:cNvSpPr/>
            <p:nvPr/>
          </p:nvSpPr>
          <p:spPr>
            <a:xfrm>
              <a:off x="906087" y="2225567"/>
              <a:ext cx="2369128" cy="723208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alisaation</a:t>
              </a:r>
              <a:endPara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nen johtaminen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44C59DC-A7BD-3345-AA16-D2221D2A0FE4}"/>
                </a:ext>
              </a:extLst>
            </p:cNvPr>
            <p:cNvSpPr/>
            <p:nvPr/>
          </p:nvSpPr>
          <p:spPr>
            <a:xfrm>
              <a:off x="3726871" y="2225567"/>
              <a:ext cx="3580015" cy="723208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ohtoryhmätason keskustelut taktisella ja operatiivisella tasoll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sen tason suunnittelulle liian vähän aika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tkän tähtäimen digisuunnitteluun ei riittävästi aika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silla hankkeilla ei riittävää painoarvoa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4B15DDA-A0F5-CD4F-B707-1182880F6C91}"/>
                </a:ext>
              </a:extLst>
            </p:cNvPr>
            <p:cNvSpPr/>
            <p:nvPr/>
          </p:nvSpPr>
          <p:spPr>
            <a:xfrm>
              <a:off x="7758541" y="2220510"/>
              <a:ext cx="3580015" cy="7236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yöpaja johdolle, jossa luodaan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alisaation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iekartt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alisaation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edistäminen nostetaan systemaattisesti osaksi johtoryhmän agendaa.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alisaatioon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iittyvä kehittäminen katselmoidaan 2 kertaa vuodessa digitoimiston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ilitoimana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13" name="Right Arrow 12">
              <a:extLst>
                <a:ext uri="{FF2B5EF4-FFF2-40B4-BE49-F238E27FC236}">
                  <a16:creationId xmlns:a16="http://schemas.microsoft.com/office/drawing/2014/main" id="{F96C545A-4B79-2244-BEF4-EE9A3D74A489}"/>
                </a:ext>
              </a:extLst>
            </p:cNvPr>
            <p:cNvSpPr/>
            <p:nvPr/>
          </p:nvSpPr>
          <p:spPr>
            <a:xfrm>
              <a:off x="3347257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ight Arrow 13">
              <a:extLst>
                <a:ext uri="{FF2B5EF4-FFF2-40B4-BE49-F238E27FC236}">
                  <a16:creationId xmlns:a16="http://schemas.microsoft.com/office/drawing/2014/main" id="{C8B6010D-5358-964B-8AC6-48BF1B58BD33}"/>
                </a:ext>
              </a:extLst>
            </p:cNvPr>
            <p:cNvSpPr/>
            <p:nvPr/>
          </p:nvSpPr>
          <p:spPr>
            <a:xfrm>
              <a:off x="7376156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8B95055-B9D1-A04E-8422-D77B9D699465}"/>
              </a:ext>
            </a:extLst>
          </p:cNvPr>
          <p:cNvGrpSpPr/>
          <p:nvPr/>
        </p:nvGrpSpPr>
        <p:grpSpPr>
          <a:xfrm>
            <a:off x="507874" y="3826214"/>
            <a:ext cx="11322601" cy="738793"/>
            <a:chOff x="906087" y="2210178"/>
            <a:chExt cx="10424154" cy="73879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DEA8B54-ED6B-1945-B961-09707DE1DB6D}"/>
                </a:ext>
              </a:extLst>
            </p:cNvPr>
            <p:cNvSpPr/>
            <p:nvPr/>
          </p:nvSpPr>
          <p:spPr>
            <a:xfrm>
              <a:off x="906087" y="2225567"/>
              <a:ext cx="2369128" cy="723208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ä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114AA43-60E3-5C47-9234-775A88FEE873}"/>
                </a:ext>
              </a:extLst>
            </p:cNvPr>
            <p:cNvSpPr/>
            <p:nvPr/>
          </p:nvSpPr>
          <p:spPr>
            <a:xfrm>
              <a:off x="3729643" y="2210178"/>
              <a:ext cx="3580015" cy="723208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ien vaihtuvuus aiheuttaa kehittämisen jatkumoon haasteit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ien toimenkuvan tällä hetkellä ”toiveiden tynnyri” 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Wingdings" pitchFamily="2" charset="2"/>
                </a:rPr>
                <a:t> liian isot odotusarvot suhteessa annettuihin raameihin.</a:t>
              </a:r>
              <a:endPara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B67AA90-889F-BD49-BA8E-4A99331B3C30}"/>
                </a:ext>
              </a:extLst>
            </p:cNvPr>
            <p:cNvSpPr/>
            <p:nvPr/>
          </p:nvSpPr>
          <p:spPr>
            <a:xfrm>
              <a:off x="7750226" y="2225371"/>
              <a:ext cx="3580015" cy="7236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jien roolin selkeyttäminen siten, että digikehittäjät pystyvät toimimaan roolissa työaika-allokaation puitteissa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saamisen kehittäminen ja keskittyminen kehitystehtäviin ylläpidollisten tehtävien sijasta.</a:t>
              </a:r>
            </a:p>
          </p:txBody>
        </p:sp>
        <p:sp>
          <p:nvSpPr>
            <p:cNvPr id="20" name="Right Arrow 19">
              <a:extLst>
                <a:ext uri="{FF2B5EF4-FFF2-40B4-BE49-F238E27FC236}">
                  <a16:creationId xmlns:a16="http://schemas.microsoft.com/office/drawing/2014/main" id="{508C7493-85CC-874E-A4B3-B54A2F753BD9}"/>
                </a:ext>
              </a:extLst>
            </p:cNvPr>
            <p:cNvSpPr/>
            <p:nvPr/>
          </p:nvSpPr>
          <p:spPr>
            <a:xfrm>
              <a:off x="3347257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ight Arrow 20">
              <a:extLst>
                <a:ext uri="{FF2B5EF4-FFF2-40B4-BE49-F238E27FC236}">
                  <a16:creationId xmlns:a16="http://schemas.microsoft.com/office/drawing/2014/main" id="{CBFE738E-1C7C-AA4E-B7F6-524D488473CC}"/>
                </a:ext>
              </a:extLst>
            </p:cNvPr>
            <p:cNvSpPr/>
            <p:nvPr/>
          </p:nvSpPr>
          <p:spPr>
            <a:xfrm>
              <a:off x="7376156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400C210-E281-FC45-9C21-084E5CDCDDF8}"/>
              </a:ext>
            </a:extLst>
          </p:cNvPr>
          <p:cNvGrpSpPr/>
          <p:nvPr/>
        </p:nvGrpSpPr>
        <p:grpSpPr>
          <a:xfrm>
            <a:off x="505689" y="3025122"/>
            <a:ext cx="11342025" cy="728264"/>
            <a:chOff x="906087" y="2220511"/>
            <a:chExt cx="10442037" cy="72826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413B8D1-D5A9-3E4F-860D-3FA75D8F3138}"/>
                </a:ext>
              </a:extLst>
            </p:cNvPr>
            <p:cNvSpPr/>
            <p:nvPr/>
          </p:nvSpPr>
          <p:spPr>
            <a:xfrm>
              <a:off x="906087" y="2225567"/>
              <a:ext cx="2369128" cy="723208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ohjelman johtaminen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89D821B-48CE-DD43-95F5-2FD2E585E7AD}"/>
                </a:ext>
              </a:extLst>
            </p:cNvPr>
            <p:cNvSpPr/>
            <p:nvPr/>
          </p:nvSpPr>
          <p:spPr>
            <a:xfrm>
              <a:off x="3731654" y="2225567"/>
              <a:ext cx="3580015" cy="723208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ohjelman ohjausryhmän roolin sopiminen ja sidokset muuhun kehittämiseen ei selkeitä.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D6472FB-9B71-DF47-BF22-70078B6648E6}"/>
                </a:ext>
              </a:extLst>
            </p:cNvPr>
            <p:cNvSpPr/>
            <p:nvPr/>
          </p:nvSpPr>
          <p:spPr>
            <a:xfrm>
              <a:off x="7768109" y="2220511"/>
              <a:ext cx="3580015" cy="7236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ohjelman seuranta tuodaan osaksi kokonaiskehittämistä, mutta digisalkun ohjausryhmä keskittyy digitalisaation kokonaisohjaamiseen. (substanssiosaaminen)</a:t>
              </a:r>
            </a:p>
          </p:txBody>
        </p:sp>
        <p:sp>
          <p:nvSpPr>
            <p:cNvPr id="26" name="Right Arrow 25">
              <a:extLst>
                <a:ext uri="{FF2B5EF4-FFF2-40B4-BE49-F238E27FC236}">
                  <a16:creationId xmlns:a16="http://schemas.microsoft.com/office/drawing/2014/main" id="{6F4D785B-86D7-4B44-8EDD-ABA6A8B1EB1C}"/>
                </a:ext>
              </a:extLst>
            </p:cNvPr>
            <p:cNvSpPr/>
            <p:nvPr/>
          </p:nvSpPr>
          <p:spPr>
            <a:xfrm>
              <a:off x="3347257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ight Arrow 26">
              <a:extLst>
                <a:ext uri="{FF2B5EF4-FFF2-40B4-BE49-F238E27FC236}">
                  <a16:creationId xmlns:a16="http://schemas.microsoft.com/office/drawing/2014/main" id="{35C00847-0265-D449-81FE-8D5774CFC906}"/>
                </a:ext>
              </a:extLst>
            </p:cNvPr>
            <p:cNvSpPr/>
            <p:nvPr/>
          </p:nvSpPr>
          <p:spPr>
            <a:xfrm>
              <a:off x="7376156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EC5F3BD-FBBE-1C48-9E7F-B87798251443}"/>
              </a:ext>
            </a:extLst>
          </p:cNvPr>
          <p:cNvGrpSpPr/>
          <p:nvPr/>
        </p:nvGrpSpPr>
        <p:grpSpPr>
          <a:xfrm>
            <a:off x="507874" y="4637639"/>
            <a:ext cx="11331634" cy="723601"/>
            <a:chOff x="906087" y="2225174"/>
            <a:chExt cx="10432470" cy="72360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416881-5E55-8D42-BCF2-0AFB879F7AA1}"/>
                </a:ext>
              </a:extLst>
            </p:cNvPr>
            <p:cNvSpPr/>
            <p:nvPr/>
          </p:nvSpPr>
          <p:spPr>
            <a:xfrm>
              <a:off x="906087" y="2225567"/>
              <a:ext cx="2369128" cy="723208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8A0BAA4-EBEF-5B4F-A2D2-0FB6665B6A2C}"/>
                </a:ext>
              </a:extLst>
            </p:cNvPr>
            <p:cNvSpPr/>
            <p:nvPr/>
          </p:nvSpPr>
          <p:spPr>
            <a:xfrm>
              <a:off x="3726871" y="2225175"/>
              <a:ext cx="3580015" cy="7236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n nykyinen ajateltu rooli ei tue tarpeeksi digiasioiden eteenpäinvientiä.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CC214AB-504C-6D44-9089-282BC126E27B}"/>
                </a:ext>
              </a:extLst>
            </p:cNvPr>
            <p:cNvSpPr/>
            <p:nvPr/>
          </p:nvSpPr>
          <p:spPr>
            <a:xfrm>
              <a:off x="7758542" y="2225174"/>
              <a:ext cx="3580015" cy="708603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ustetaan digitoimisto 2.0 ja resursoidaan 2-3 henkilötyövuotta tavoitteena digialoitteiden ja ohjelman riittävä edistäminen</a:t>
              </a:r>
            </a:p>
          </p:txBody>
        </p:sp>
        <p:sp>
          <p:nvSpPr>
            <p:cNvPr id="33" name="Right Arrow 32">
              <a:extLst>
                <a:ext uri="{FF2B5EF4-FFF2-40B4-BE49-F238E27FC236}">
                  <a16:creationId xmlns:a16="http://schemas.microsoft.com/office/drawing/2014/main" id="{D7FA49AE-6F26-AE4D-AC73-459489BE3086}"/>
                </a:ext>
              </a:extLst>
            </p:cNvPr>
            <p:cNvSpPr/>
            <p:nvPr/>
          </p:nvSpPr>
          <p:spPr>
            <a:xfrm>
              <a:off x="3347257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ight Arrow 33">
              <a:extLst>
                <a:ext uri="{FF2B5EF4-FFF2-40B4-BE49-F238E27FC236}">
                  <a16:creationId xmlns:a16="http://schemas.microsoft.com/office/drawing/2014/main" id="{8EF3D269-FED6-C640-A2B0-FC4FC7C407A2}"/>
                </a:ext>
              </a:extLst>
            </p:cNvPr>
            <p:cNvSpPr/>
            <p:nvPr/>
          </p:nvSpPr>
          <p:spPr>
            <a:xfrm>
              <a:off x="7376156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547E73A-DA71-8F47-A87D-07E8015F9CA6}"/>
              </a:ext>
            </a:extLst>
          </p:cNvPr>
          <p:cNvGrpSpPr/>
          <p:nvPr/>
        </p:nvGrpSpPr>
        <p:grpSpPr>
          <a:xfrm>
            <a:off x="507874" y="5449457"/>
            <a:ext cx="11339839" cy="723600"/>
            <a:chOff x="906087" y="2225567"/>
            <a:chExt cx="10440024" cy="7236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23D27E8-7EE3-3143-9551-29CD85DC00E7}"/>
                </a:ext>
              </a:extLst>
            </p:cNvPr>
            <p:cNvSpPr/>
            <p:nvPr/>
          </p:nvSpPr>
          <p:spPr>
            <a:xfrm>
              <a:off x="906087" y="2225567"/>
              <a:ext cx="2369128" cy="723208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mine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6092142-204E-D84A-9C47-5730DC0C7050}"/>
                </a:ext>
              </a:extLst>
            </p:cNvPr>
            <p:cNvSpPr/>
            <p:nvPr/>
          </p:nvSpPr>
          <p:spPr>
            <a:xfrm>
              <a:off x="3726871" y="2225567"/>
              <a:ext cx="3580015" cy="723208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misen metodeita on jo aiemmin tunnistettu, mutta niitä ei aktiivisesti käytetä. Kehittäminen pikaratkaisuja hakevaa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kehittäminen tapahtuu siiloissa, jolloin parhaita käytäntöjä ei jaeta muihin organisaation osiin.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2A943FA-FD0B-E14A-B917-5C09BA005E98}"/>
                </a:ext>
              </a:extLst>
            </p:cNvPr>
            <p:cNvSpPr/>
            <p:nvPr/>
          </p:nvSpPr>
          <p:spPr>
            <a:xfrm>
              <a:off x="7766096" y="2225567"/>
              <a:ext cx="3580015" cy="7236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1"/>
            </a:fontRef>
          </p:style>
          <p:txBody>
            <a:bodyPr rtlCol="0" anchor="t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 alkaa johtamaan määrämuotoista digikehittämistä markkinoimalla metodeita ja olemaan aktiivinen osapuoli kehityksen </a:t>
              </a:r>
              <a:r>
                <a:rPr kumimoji="0" lang="fi-FI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ilitoinnissa</a:t>
              </a: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gitoimiston tehtävä myös parhaiden käytäntöjen jakaminen</a:t>
              </a:r>
            </a:p>
          </p:txBody>
        </p:sp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BA2AB013-BFFC-6442-96D2-51E4B20AFE2D}"/>
                </a:ext>
              </a:extLst>
            </p:cNvPr>
            <p:cNvSpPr/>
            <p:nvPr/>
          </p:nvSpPr>
          <p:spPr>
            <a:xfrm>
              <a:off x="3347257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ight Arrow 39">
              <a:extLst>
                <a:ext uri="{FF2B5EF4-FFF2-40B4-BE49-F238E27FC236}">
                  <a16:creationId xmlns:a16="http://schemas.microsoft.com/office/drawing/2014/main" id="{8FBB7D0F-73B9-D04A-B0AD-61D27432763B}"/>
                </a:ext>
              </a:extLst>
            </p:cNvPr>
            <p:cNvSpPr/>
            <p:nvPr/>
          </p:nvSpPr>
          <p:spPr>
            <a:xfrm>
              <a:off x="7376156" y="2462480"/>
              <a:ext cx="307571" cy="249382"/>
            </a:xfrm>
            <a:prstGeom prst="rightArrow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988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0A522-09AB-EF4C-B2A9-46F392E41D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26535" y="2281969"/>
            <a:ext cx="8774230" cy="2779834"/>
          </a:xfrm>
        </p:spPr>
        <p:txBody>
          <a:bodyPr>
            <a:normAutofit/>
          </a:bodyPr>
          <a:lstStyle/>
          <a:p>
            <a:r>
              <a:rPr lang="fi-FI" dirty="0"/>
              <a:t>Suositukset</a:t>
            </a:r>
          </a:p>
        </p:txBody>
      </p:sp>
    </p:spTree>
    <p:extLst>
      <p:ext uri="{BB962C8B-B14F-4D97-AF65-F5344CB8AC3E}">
        <p14:creationId xmlns:p14="http://schemas.microsoft.com/office/powerpoint/2010/main" val="363258860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ight Arrow 20">
            <a:extLst>
              <a:ext uri="{FF2B5EF4-FFF2-40B4-BE49-F238E27FC236}">
                <a16:creationId xmlns:a16="http://schemas.microsoft.com/office/drawing/2014/main" id="{ACA91F68-0704-F6E5-349F-15AEA31F01D0}"/>
              </a:ext>
            </a:extLst>
          </p:cNvPr>
          <p:cNvSpPr/>
          <p:nvPr/>
        </p:nvSpPr>
        <p:spPr>
          <a:xfrm>
            <a:off x="1611098" y="2474193"/>
            <a:ext cx="8452988" cy="60314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murro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346CF-D186-66FA-5F2C-63B90621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851" y="704562"/>
            <a:ext cx="10625253" cy="1500936"/>
          </a:xfrm>
        </p:spPr>
        <p:txBody>
          <a:bodyPr>
            <a:normAutofit fontScale="90000"/>
          </a:bodyPr>
          <a:lstStyle/>
          <a:p>
            <a:br>
              <a:rPr lang="fi-FI" dirty="0"/>
            </a:br>
            <a:r>
              <a:rPr lang="fi-FI" dirty="0"/>
              <a:t>Digimurroksen hallitun haltuunoton seuraavat askeleet - suositus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CE81886-A7E8-A315-C377-498C0C02312A}"/>
              </a:ext>
            </a:extLst>
          </p:cNvPr>
          <p:cNvSpPr txBox="1">
            <a:spLocks/>
          </p:cNvSpPr>
          <p:nvPr/>
        </p:nvSpPr>
        <p:spPr>
          <a:xfrm>
            <a:off x="1694622" y="2678961"/>
            <a:ext cx="1439862" cy="143986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noFill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Lab Grotesque"/>
                <a:ea typeface="+mn-ea"/>
                <a:cs typeface="+mn-cs"/>
              </a:rPr>
              <a:t> 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76D3EBF-A9DB-72DA-C72E-24E152263A85}"/>
              </a:ext>
            </a:extLst>
          </p:cNvPr>
          <p:cNvSpPr txBox="1">
            <a:spLocks/>
          </p:cNvSpPr>
          <p:nvPr/>
        </p:nvSpPr>
        <p:spPr>
          <a:xfrm>
            <a:off x="1910553" y="2894891"/>
            <a:ext cx="1008000" cy="1008000"/>
          </a:xfrm>
          <a:custGeom>
            <a:avLst/>
            <a:gdLst>
              <a:gd name="connsiteX0" fmla="*/ 819171 w 1638341"/>
              <a:gd name="connsiteY0" fmla="*/ 0 h 1638108"/>
              <a:gd name="connsiteX1" fmla="*/ 1634113 w 1638341"/>
              <a:gd name="connsiteY1" fmla="*/ 735416 h 1638108"/>
              <a:gd name="connsiteX2" fmla="*/ 1638341 w 1638341"/>
              <a:gd name="connsiteY2" fmla="*/ 819151 h 1638108"/>
              <a:gd name="connsiteX3" fmla="*/ 1638341 w 1638341"/>
              <a:gd name="connsiteY3" fmla="*/ 819191 h 1638108"/>
              <a:gd name="connsiteX4" fmla="*/ 1634113 w 1638341"/>
              <a:gd name="connsiteY4" fmla="*/ 902927 h 1638108"/>
              <a:gd name="connsiteX5" fmla="*/ 902927 w 1638341"/>
              <a:gd name="connsiteY5" fmla="*/ 1634113 h 1638108"/>
              <a:gd name="connsiteX6" fmla="*/ 823805 w 1638341"/>
              <a:gd name="connsiteY6" fmla="*/ 1638108 h 1638108"/>
              <a:gd name="connsiteX7" fmla="*/ 814537 w 1638341"/>
              <a:gd name="connsiteY7" fmla="*/ 1638108 h 1638108"/>
              <a:gd name="connsiteX8" fmla="*/ 735416 w 1638341"/>
              <a:gd name="connsiteY8" fmla="*/ 1634113 h 1638108"/>
              <a:gd name="connsiteX9" fmla="*/ 0 w 1638341"/>
              <a:gd name="connsiteY9" fmla="*/ 819171 h 1638108"/>
              <a:gd name="connsiteX10" fmla="*/ 819171 w 1638341"/>
              <a:gd name="connsiteY10" fmla="*/ 0 h 163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38341" h="1638108">
                <a:moveTo>
                  <a:pt x="819171" y="0"/>
                </a:moveTo>
                <a:cubicBezTo>
                  <a:pt x="1243311" y="0"/>
                  <a:pt x="1592163" y="322343"/>
                  <a:pt x="1634113" y="735416"/>
                </a:cubicBezTo>
                <a:lnTo>
                  <a:pt x="1638341" y="819151"/>
                </a:lnTo>
                <a:lnTo>
                  <a:pt x="1638341" y="819191"/>
                </a:lnTo>
                <a:lnTo>
                  <a:pt x="1634113" y="902927"/>
                </a:lnTo>
                <a:cubicBezTo>
                  <a:pt x="1594960" y="1288461"/>
                  <a:pt x="1288461" y="1594960"/>
                  <a:pt x="902927" y="1634113"/>
                </a:cubicBezTo>
                <a:lnTo>
                  <a:pt x="823805" y="1638108"/>
                </a:lnTo>
                <a:lnTo>
                  <a:pt x="814537" y="1638108"/>
                </a:lnTo>
                <a:lnTo>
                  <a:pt x="735416" y="1634113"/>
                </a:lnTo>
                <a:cubicBezTo>
                  <a:pt x="322343" y="1592163"/>
                  <a:pt x="0" y="1243311"/>
                  <a:pt x="0" y="819171"/>
                </a:cubicBezTo>
                <a:cubicBezTo>
                  <a:pt x="0" y="366755"/>
                  <a:pt x="366755" y="0"/>
                  <a:pt x="819171" y="0"/>
                </a:cubicBezTo>
                <a:close/>
              </a:path>
            </a:pathLst>
          </a:custGeom>
          <a:solidFill>
            <a:sysClr val="window" lastClr="FFFFFF"/>
          </a:solidFill>
          <a:ln w="44450">
            <a:noFill/>
          </a:ln>
          <a:effectLst>
            <a:outerShdw blurRad="203200" dist="76200" dir="2700000" algn="tl" rotWithShape="0">
              <a:sysClr val="windowText" lastClr="000000">
                <a:alpha val="15000"/>
              </a:sysClr>
            </a:outerShdw>
          </a:effectLst>
        </p:spPr>
        <p:txBody>
          <a:bodyPr vert="horz" wrap="square" lIns="72000" tIns="45720" rIns="72000" bIns="45720" rtlCol="0" anchor="ctr" anchorCtr="1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2"/>
                </a:solidFill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 dirty="0">
                <a:ln>
                  <a:noFill/>
                </a:ln>
                <a:solidFill>
                  <a:srgbClr val="325D7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- kyvykkyyden analyysi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EC0F3C2-7086-4977-703F-BFC8B7CB1E41}"/>
              </a:ext>
            </a:extLst>
          </p:cNvPr>
          <p:cNvSpPr txBox="1">
            <a:spLocks/>
          </p:cNvSpPr>
          <p:nvPr/>
        </p:nvSpPr>
        <p:spPr>
          <a:xfrm>
            <a:off x="3916550" y="2678961"/>
            <a:ext cx="1439862" cy="143986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vert="horz" lIns="91440" tIns="45720" rIns="91440" bIns="45720" rtlCol="0">
            <a:noAutofit/>
          </a:bodyPr>
          <a:lstStyle>
            <a:defPPr>
              <a:defRPr lang="fi-FI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noFill/>
                <a:effectLst/>
                <a:uLnTx/>
                <a:uFillTx/>
                <a:latin typeface="Lab Grotesque"/>
              </a:defRPr>
            </a:lvl1pPr>
            <a:lvl2pPr marL="6858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>
                <a:solidFill>
                  <a:schemeClr val="lt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>
                <a:solidFill>
                  <a:schemeClr val="lt1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/>
                <a:ea typeface="+mn-ea"/>
                <a:cs typeface="+mn-cs"/>
              </a:rPr>
              <a:t>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6CE9EF1-7E1C-9FB5-8E28-CC2F276D7DA5}"/>
              </a:ext>
            </a:extLst>
          </p:cNvPr>
          <p:cNvSpPr txBox="1">
            <a:spLocks/>
          </p:cNvSpPr>
          <p:nvPr/>
        </p:nvSpPr>
        <p:spPr>
          <a:xfrm>
            <a:off x="4132481" y="2894891"/>
            <a:ext cx="1008000" cy="1008000"/>
          </a:xfrm>
          <a:custGeom>
            <a:avLst/>
            <a:gdLst>
              <a:gd name="connsiteX0" fmla="*/ 819171 w 1638341"/>
              <a:gd name="connsiteY0" fmla="*/ 0 h 1638108"/>
              <a:gd name="connsiteX1" fmla="*/ 1634113 w 1638341"/>
              <a:gd name="connsiteY1" fmla="*/ 735416 h 1638108"/>
              <a:gd name="connsiteX2" fmla="*/ 1638341 w 1638341"/>
              <a:gd name="connsiteY2" fmla="*/ 819151 h 1638108"/>
              <a:gd name="connsiteX3" fmla="*/ 1638341 w 1638341"/>
              <a:gd name="connsiteY3" fmla="*/ 819191 h 1638108"/>
              <a:gd name="connsiteX4" fmla="*/ 1634113 w 1638341"/>
              <a:gd name="connsiteY4" fmla="*/ 902927 h 1638108"/>
              <a:gd name="connsiteX5" fmla="*/ 902927 w 1638341"/>
              <a:gd name="connsiteY5" fmla="*/ 1634113 h 1638108"/>
              <a:gd name="connsiteX6" fmla="*/ 823805 w 1638341"/>
              <a:gd name="connsiteY6" fmla="*/ 1638108 h 1638108"/>
              <a:gd name="connsiteX7" fmla="*/ 814537 w 1638341"/>
              <a:gd name="connsiteY7" fmla="*/ 1638108 h 1638108"/>
              <a:gd name="connsiteX8" fmla="*/ 735416 w 1638341"/>
              <a:gd name="connsiteY8" fmla="*/ 1634113 h 1638108"/>
              <a:gd name="connsiteX9" fmla="*/ 0 w 1638341"/>
              <a:gd name="connsiteY9" fmla="*/ 819171 h 1638108"/>
              <a:gd name="connsiteX10" fmla="*/ 819171 w 1638341"/>
              <a:gd name="connsiteY10" fmla="*/ 0 h 163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38341" h="1638108">
                <a:moveTo>
                  <a:pt x="819171" y="0"/>
                </a:moveTo>
                <a:cubicBezTo>
                  <a:pt x="1243311" y="0"/>
                  <a:pt x="1592163" y="322343"/>
                  <a:pt x="1634113" y="735416"/>
                </a:cubicBezTo>
                <a:lnTo>
                  <a:pt x="1638341" y="819151"/>
                </a:lnTo>
                <a:lnTo>
                  <a:pt x="1638341" y="819191"/>
                </a:lnTo>
                <a:lnTo>
                  <a:pt x="1634113" y="902927"/>
                </a:lnTo>
                <a:cubicBezTo>
                  <a:pt x="1594960" y="1288461"/>
                  <a:pt x="1288461" y="1594960"/>
                  <a:pt x="902927" y="1634113"/>
                </a:cubicBezTo>
                <a:lnTo>
                  <a:pt x="823805" y="1638108"/>
                </a:lnTo>
                <a:lnTo>
                  <a:pt x="814537" y="1638108"/>
                </a:lnTo>
                <a:lnTo>
                  <a:pt x="735416" y="1634113"/>
                </a:lnTo>
                <a:cubicBezTo>
                  <a:pt x="322343" y="1592163"/>
                  <a:pt x="0" y="1243311"/>
                  <a:pt x="0" y="819171"/>
                </a:cubicBezTo>
                <a:cubicBezTo>
                  <a:pt x="0" y="366755"/>
                  <a:pt x="366755" y="0"/>
                  <a:pt x="819171" y="0"/>
                </a:cubicBezTo>
                <a:close/>
              </a:path>
            </a:pathLst>
          </a:custGeom>
          <a:solidFill>
            <a:sysClr val="window" lastClr="FFFFFF"/>
          </a:solidFill>
          <a:ln w="44450">
            <a:noFill/>
          </a:ln>
          <a:effectLst>
            <a:outerShdw blurRad="203200" dist="76200" dir="2700000" algn="tl" rotWithShape="0">
              <a:sysClr val="windowText" lastClr="000000">
                <a:alpha val="15000"/>
              </a:sysClr>
            </a:outerShdw>
          </a:effectLst>
        </p:spPr>
        <p:txBody>
          <a:bodyPr vert="horz" wrap="square" lIns="72000" tIns="45720" rIns="72000" bIns="45720" rtlCol="0" anchor="ctr" anchorCtr="1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2"/>
                </a:solidFill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 dirty="0">
                <a:ln>
                  <a:noFill/>
                </a:ln>
                <a:solidFill>
                  <a:srgbClr val="325D7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vision muodostu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407F54F-4F8B-D8FD-6630-CB11CF659792}"/>
              </a:ext>
            </a:extLst>
          </p:cNvPr>
          <p:cNvSpPr txBox="1">
            <a:spLocks/>
          </p:cNvSpPr>
          <p:nvPr/>
        </p:nvSpPr>
        <p:spPr>
          <a:xfrm>
            <a:off x="3456026" y="3323839"/>
            <a:ext cx="138982" cy="161218"/>
          </a:xfrm>
          <a:custGeom>
            <a:avLst/>
            <a:gdLst>
              <a:gd name="connsiteX0" fmla="*/ 0 w 138982"/>
              <a:gd name="connsiteY0" fmla="*/ 0 h 161218"/>
              <a:gd name="connsiteX1" fmla="*/ 138982 w 138982"/>
              <a:gd name="connsiteY1" fmla="*/ 80609 h 161218"/>
              <a:gd name="connsiteX2" fmla="*/ 0 w 138982"/>
              <a:gd name="connsiteY2" fmla="*/ 161218 h 16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982" h="161218">
                <a:moveTo>
                  <a:pt x="0" y="0"/>
                </a:moveTo>
                <a:lnTo>
                  <a:pt x="138982" y="80609"/>
                </a:lnTo>
                <a:lnTo>
                  <a:pt x="0" y="161218"/>
                </a:lnTo>
                <a:close/>
              </a:path>
            </a:pathLst>
          </a:custGeom>
          <a:solidFill>
            <a:srgbClr val="325D79"/>
          </a:solidFill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noFill/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 panose="00000500000000000000" pitchFamily="50" charset="0"/>
                <a:ea typeface="+mn-ea"/>
                <a:cs typeface="+mn-cs"/>
              </a:rPr>
              <a:t>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B037C4A-9337-18DF-527F-1AAE21D0598D}"/>
              </a:ext>
            </a:extLst>
          </p:cNvPr>
          <p:cNvSpPr txBox="1">
            <a:spLocks/>
          </p:cNvSpPr>
          <p:nvPr/>
        </p:nvSpPr>
        <p:spPr>
          <a:xfrm>
            <a:off x="5677954" y="3323839"/>
            <a:ext cx="138982" cy="161218"/>
          </a:xfrm>
          <a:custGeom>
            <a:avLst/>
            <a:gdLst>
              <a:gd name="connsiteX0" fmla="*/ 0 w 138982"/>
              <a:gd name="connsiteY0" fmla="*/ 0 h 161218"/>
              <a:gd name="connsiteX1" fmla="*/ 138982 w 138982"/>
              <a:gd name="connsiteY1" fmla="*/ 80609 h 161218"/>
              <a:gd name="connsiteX2" fmla="*/ 0 w 138982"/>
              <a:gd name="connsiteY2" fmla="*/ 161218 h 16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982" h="161218">
                <a:moveTo>
                  <a:pt x="0" y="0"/>
                </a:moveTo>
                <a:lnTo>
                  <a:pt x="138982" y="80609"/>
                </a:lnTo>
                <a:lnTo>
                  <a:pt x="0" y="161218"/>
                </a:lnTo>
                <a:close/>
              </a:path>
            </a:pathLst>
          </a:custGeom>
          <a:solidFill>
            <a:srgbClr val="325D79"/>
          </a:solidFill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noFill/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 panose="00000500000000000000" pitchFamily="50" charset="0"/>
                <a:ea typeface="+mn-ea"/>
                <a:cs typeface="+mn-cs"/>
              </a:rPr>
              <a:t> 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4C4D7FF-38D4-8256-6B0D-CAB69189E7AD}"/>
              </a:ext>
            </a:extLst>
          </p:cNvPr>
          <p:cNvSpPr txBox="1">
            <a:spLocks/>
          </p:cNvSpPr>
          <p:nvPr/>
        </p:nvSpPr>
        <p:spPr>
          <a:xfrm>
            <a:off x="6138478" y="2678961"/>
            <a:ext cx="1439862" cy="143986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vert="horz" lIns="91440" tIns="45720" rIns="91440" bIns="45720" rtlCol="0">
            <a:noAutofit/>
          </a:bodyPr>
          <a:lstStyle>
            <a:defPPr>
              <a:defRPr lang="fi-FI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noFill/>
                <a:effectLst/>
                <a:uLnTx/>
                <a:uFillTx/>
                <a:latin typeface="Lab Grotesque"/>
              </a:defRPr>
            </a:lvl1pPr>
            <a:lvl2pPr marL="6858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>
                <a:solidFill>
                  <a:schemeClr val="lt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>
                <a:solidFill>
                  <a:schemeClr val="lt1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/>
                <a:ea typeface="+mn-ea"/>
                <a:cs typeface="+mn-cs"/>
              </a:rPr>
              <a:t> 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201B890-623F-142E-EEE4-2D99C7D8DE24}"/>
              </a:ext>
            </a:extLst>
          </p:cNvPr>
          <p:cNvSpPr txBox="1">
            <a:spLocks/>
          </p:cNvSpPr>
          <p:nvPr/>
        </p:nvSpPr>
        <p:spPr>
          <a:xfrm>
            <a:off x="6354409" y="2894891"/>
            <a:ext cx="1008000" cy="1008000"/>
          </a:xfrm>
          <a:custGeom>
            <a:avLst/>
            <a:gdLst>
              <a:gd name="connsiteX0" fmla="*/ 819171 w 1638341"/>
              <a:gd name="connsiteY0" fmla="*/ 0 h 1638108"/>
              <a:gd name="connsiteX1" fmla="*/ 1634113 w 1638341"/>
              <a:gd name="connsiteY1" fmla="*/ 735416 h 1638108"/>
              <a:gd name="connsiteX2" fmla="*/ 1638341 w 1638341"/>
              <a:gd name="connsiteY2" fmla="*/ 819151 h 1638108"/>
              <a:gd name="connsiteX3" fmla="*/ 1638341 w 1638341"/>
              <a:gd name="connsiteY3" fmla="*/ 819191 h 1638108"/>
              <a:gd name="connsiteX4" fmla="*/ 1634113 w 1638341"/>
              <a:gd name="connsiteY4" fmla="*/ 902927 h 1638108"/>
              <a:gd name="connsiteX5" fmla="*/ 902927 w 1638341"/>
              <a:gd name="connsiteY5" fmla="*/ 1634113 h 1638108"/>
              <a:gd name="connsiteX6" fmla="*/ 823805 w 1638341"/>
              <a:gd name="connsiteY6" fmla="*/ 1638108 h 1638108"/>
              <a:gd name="connsiteX7" fmla="*/ 814537 w 1638341"/>
              <a:gd name="connsiteY7" fmla="*/ 1638108 h 1638108"/>
              <a:gd name="connsiteX8" fmla="*/ 735416 w 1638341"/>
              <a:gd name="connsiteY8" fmla="*/ 1634113 h 1638108"/>
              <a:gd name="connsiteX9" fmla="*/ 0 w 1638341"/>
              <a:gd name="connsiteY9" fmla="*/ 819171 h 1638108"/>
              <a:gd name="connsiteX10" fmla="*/ 819171 w 1638341"/>
              <a:gd name="connsiteY10" fmla="*/ 0 h 163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38341" h="1638108">
                <a:moveTo>
                  <a:pt x="819171" y="0"/>
                </a:moveTo>
                <a:cubicBezTo>
                  <a:pt x="1243311" y="0"/>
                  <a:pt x="1592163" y="322343"/>
                  <a:pt x="1634113" y="735416"/>
                </a:cubicBezTo>
                <a:lnTo>
                  <a:pt x="1638341" y="819151"/>
                </a:lnTo>
                <a:lnTo>
                  <a:pt x="1638341" y="819191"/>
                </a:lnTo>
                <a:lnTo>
                  <a:pt x="1634113" y="902927"/>
                </a:lnTo>
                <a:cubicBezTo>
                  <a:pt x="1594960" y="1288461"/>
                  <a:pt x="1288461" y="1594960"/>
                  <a:pt x="902927" y="1634113"/>
                </a:cubicBezTo>
                <a:lnTo>
                  <a:pt x="823805" y="1638108"/>
                </a:lnTo>
                <a:lnTo>
                  <a:pt x="814537" y="1638108"/>
                </a:lnTo>
                <a:lnTo>
                  <a:pt x="735416" y="1634113"/>
                </a:lnTo>
                <a:cubicBezTo>
                  <a:pt x="322343" y="1592163"/>
                  <a:pt x="0" y="1243311"/>
                  <a:pt x="0" y="819171"/>
                </a:cubicBezTo>
                <a:cubicBezTo>
                  <a:pt x="0" y="366755"/>
                  <a:pt x="366755" y="0"/>
                  <a:pt x="819171" y="0"/>
                </a:cubicBezTo>
                <a:close/>
              </a:path>
            </a:pathLst>
          </a:custGeom>
          <a:solidFill>
            <a:sysClr val="window" lastClr="FFFFFF"/>
          </a:solidFill>
          <a:ln w="44450">
            <a:noFill/>
          </a:ln>
          <a:effectLst>
            <a:outerShdw blurRad="203200" dist="76200" dir="2700000" algn="tl" rotWithShape="0">
              <a:sysClr val="windowText" lastClr="000000">
                <a:alpha val="15000"/>
              </a:sysClr>
            </a:outerShdw>
          </a:effectLst>
        </p:spPr>
        <p:txBody>
          <a:bodyPr vert="horz" wrap="square" lIns="72000" tIns="45720" rIns="72000" bIns="45720" rtlCol="0" anchor="ctr" anchorCtr="1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2"/>
                </a:solidFill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 dirty="0">
                <a:ln>
                  <a:noFill/>
                </a:ln>
                <a:solidFill>
                  <a:srgbClr val="325D7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- tiekartan muodostu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E1081430-B823-FF55-F8FB-AEC98C35D2E6}"/>
              </a:ext>
            </a:extLst>
          </p:cNvPr>
          <p:cNvSpPr txBox="1">
            <a:spLocks/>
          </p:cNvSpPr>
          <p:nvPr/>
        </p:nvSpPr>
        <p:spPr>
          <a:xfrm>
            <a:off x="7899882" y="3318282"/>
            <a:ext cx="138982" cy="161218"/>
          </a:xfrm>
          <a:custGeom>
            <a:avLst/>
            <a:gdLst>
              <a:gd name="connsiteX0" fmla="*/ 0 w 138982"/>
              <a:gd name="connsiteY0" fmla="*/ 0 h 161218"/>
              <a:gd name="connsiteX1" fmla="*/ 138982 w 138982"/>
              <a:gd name="connsiteY1" fmla="*/ 80609 h 161218"/>
              <a:gd name="connsiteX2" fmla="*/ 0 w 138982"/>
              <a:gd name="connsiteY2" fmla="*/ 161218 h 16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982" h="161218">
                <a:moveTo>
                  <a:pt x="0" y="0"/>
                </a:moveTo>
                <a:lnTo>
                  <a:pt x="138982" y="80609"/>
                </a:lnTo>
                <a:lnTo>
                  <a:pt x="0" y="161218"/>
                </a:lnTo>
                <a:close/>
              </a:path>
            </a:pathLst>
          </a:custGeom>
          <a:solidFill>
            <a:srgbClr val="325D79"/>
          </a:solidFill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noFill/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 panose="00000500000000000000" pitchFamily="50" charset="0"/>
                <a:ea typeface="+mn-ea"/>
                <a:cs typeface="+mn-cs"/>
              </a:rPr>
              <a:t> 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FC3FEB-681F-87F4-11C6-DBFE41A317E3}"/>
              </a:ext>
            </a:extLst>
          </p:cNvPr>
          <p:cNvSpPr txBox="1">
            <a:spLocks/>
          </p:cNvSpPr>
          <p:nvPr/>
        </p:nvSpPr>
        <p:spPr>
          <a:xfrm>
            <a:off x="8360406" y="2678961"/>
            <a:ext cx="1439862" cy="1439862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vert="horz" lIns="91440" tIns="45720" rIns="91440" bIns="45720" rtlCol="0">
            <a:noAutofit/>
          </a:bodyPr>
          <a:lstStyle>
            <a:defPPr>
              <a:defRPr lang="fi-FI"/>
            </a:defPPr>
            <a:lvl1pPr marR="0" lvl="0" indent="0" fontAlgn="auto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noFill/>
                <a:effectLst/>
                <a:uLnTx/>
                <a:uFillTx/>
                <a:latin typeface="Lab Grotesque"/>
              </a:defRPr>
            </a:lvl1pPr>
            <a:lvl2pPr marL="6858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>
                <a:solidFill>
                  <a:schemeClr val="lt1"/>
                </a:solidFill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>
                <a:solidFill>
                  <a:schemeClr val="lt1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>
                <a:solidFill>
                  <a:schemeClr val="l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Lab Grotesque"/>
                <a:ea typeface="+mn-ea"/>
                <a:cs typeface="+mn-cs"/>
              </a:rPr>
              <a:t> 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405F136-501A-FF15-740C-08E3E2EE7AD9}"/>
              </a:ext>
            </a:extLst>
          </p:cNvPr>
          <p:cNvSpPr txBox="1">
            <a:spLocks/>
          </p:cNvSpPr>
          <p:nvPr/>
        </p:nvSpPr>
        <p:spPr>
          <a:xfrm>
            <a:off x="8576337" y="2894891"/>
            <a:ext cx="1008000" cy="1008000"/>
          </a:xfrm>
          <a:custGeom>
            <a:avLst/>
            <a:gdLst>
              <a:gd name="connsiteX0" fmla="*/ 819171 w 1638341"/>
              <a:gd name="connsiteY0" fmla="*/ 0 h 1638108"/>
              <a:gd name="connsiteX1" fmla="*/ 1634113 w 1638341"/>
              <a:gd name="connsiteY1" fmla="*/ 735416 h 1638108"/>
              <a:gd name="connsiteX2" fmla="*/ 1638341 w 1638341"/>
              <a:gd name="connsiteY2" fmla="*/ 819151 h 1638108"/>
              <a:gd name="connsiteX3" fmla="*/ 1638341 w 1638341"/>
              <a:gd name="connsiteY3" fmla="*/ 819191 h 1638108"/>
              <a:gd name="connsiteX4" fmla="*/ 1634113 w 1638341"/>
              <a:gd name="connsiteY4" fmla="*/ 902927 h 1638108"/>
              <a:gd name="connsiteX5" fmla="*/ 902927 w 1638341"/>
              <a:gd name="connsiteY5" fmla="*/ 1634113 h 1638108"/>
              <a:gd name="connsiteX6" fmla="*/ 823805 w 1638341"/>
              <a:gd name="connsiteY6" fmla="*/ 1638108 h 1638108"/>
              <a:gd name="connsiteX7" fmla="*/ 814537 w 1638341"/>
              <a:gd name="connsiteY7" fmla="*/ 1638108 h 1638108"/>
              <a:gd name="connsiteX8" fmla="*/ 735416 w 1638341"/>
              <a:gd name="connsiteY8" fmla="*/ 1634113 h 1638108"/>
              <a:gd name="connsiteX9" fmla="*/ 0 w 1638341"/>
              <a:gd name="connsiteY9" fmla="*/ 819171 h 1638108"/>
              <a:gd name="connsiteX10" fmla="*/ 819171 w 1638341"/>
              <a:gd name="connsiteY10" fmla="*/ 0 h 1638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38341" h="1638108">
                <a:moveTo>
                  <a:pt x="819171" y="0"/>
                </a:moveTo>
                <a:cubicBezTo>
                  <a:pt x="1243311" y="0"/>
                  <a:pt x="1592163" y="322343"/>
                  <a:pt x="1634113" y="735416"/>
                </a:cubicBezTo>
                <a:lnTo>
                  <a:pt x="1638341" y="819151"/>
                </a:lnTo>
                <a:lnTo>
                  <a:pt x="1638341" y="819191"/>
                </a:lnTo>
                <a:lnTo>
                  <a:pt x="1634113" y="902927"/>
                </a:lnTo>
                <a:cubicBezTo>
                  <a:pt x="1594960" y="1288461"/>
                  <a:pt x="1288461" y="1594960"/>
                  <a:pt x="902927" y="1634113"/>
                </a:cubicBezTo>
                <a:lnTo>
                  <a:pt x="823805" y="1638108"/>
                </a:lnTo>
                <a:lnTo>
                  <a:pt x="814537" y="1638108"/>
                </a:lnTo>
                <a:lnTo>
                  <a:pt x="735416" y="1634113"/>
                </a:lnTo>
                <a:cubicBezTo>
                  <a:pt x="322343" y="1592163"/>
                  <a:pt x="0" y="1243311"/>
                  <a:pt x="0" y="819171"/>
                </a:cubicBezTo>
                <a:cubicBezTo>
                  <a:pt x="0" y="366755"/>
                  <a:pt x="366755" y="0"/>
                  <a:pt x="819171" y="0"/>
                </a:cubicBezTo>
                <a:close/>
              </a:path>
            </a:pathLst>
          </a:custGeom>
          <a:solidFill>
            <a:sysClr val="window" lastClr="FFFFFF"/>
          </a:solidFill>
          <a:ln w="44450">
            <a:noFill/>
          </a:ln>
          <a:effectLst>
            <a:outerShdw blurRad="203200" dist="76200" dir="2700000" algn="tl" rotWithShape="0">
              <a:sysClr val="windowText" lastClr="000000">
                <a:alpha val="15000"/>
              </a:sysClr>
            </a:outerShdw>
          </a:effectLst>
        </p:spPr>
        <p:txBody>
          <a:bodyPr vert="horz" wrap="square" lIns="72000" tIns="45720" rIns="72000" bIns="45720" rtlCol="0" anchor="ctr" anchorCtr="1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2"/>
                </a:solidFill>
                <a:latin typeface="Lab Grotesque" panose="00000500000000000000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6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2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>
                  <a:lumMod val="50000"/>
                </a:schemeClr>
              </a:buClr>
              <a:buFontTx/>
              <a:buChar char="-"/>
              <a:defRPr sz="1100" kern="1200">
                <a:solidFill>
                  <a:schemeClr val="bg2">
                    <a:lumMod val="50000"/>
                  </a:schemeClr>
                </a:solidFill>
                <a:latin typeface="Lab Grotesqu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FF72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 dirty="0">
                <a:ln>
                  <a:noFill/>
                </a:ln>
                <a:solidFill>
                  <a:srgbClr val="325D79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- tiekartan toteutu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E2B7B6-FEF8-A9B3-BE75-CA33783F8E70}"/>
              </a:ext>
            </a:extLst>
          </p:cNvPr>
          <p:cNvSpPr txBox="1"/>
          <p:nvPr/>
        </p:nvSpPr>
        <p:spPr>
          <a:xfrm>
            <a:off x="1694622" y="4304370"/>
            <a:ext cx="15949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konaisvaltainen ymmärrys organisaation nykyisistä digikyvykkyyksistä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4FD2938-0FCD-596D-5956-492475134AAD}"/>
              </a:ext>
            </a:extLst>
          </p:cNvPr>
          <p:cNvSpPr txBox="1"/>
          <p:nvPr/>
        </p:nvSpPr>
        <p:spPr>
          <a:xfrm>
            <a:off x="3761424" y="4312432"/>
            <a:ext cx="1594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ykytilan pohjalta muodostetaan tahtotila, eli Digivisi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04CF2D-D68F-7040-F02A-7978295511F8}"/>
              </a:ext>
            </a:extLst>
          </p:cNvPr>
          <p:cNvSpPr txBox="1"/>
          <p:nvPr/>
        </p:nvSpPr>
        <p:spPr>
          <a:xfrm>
            <a:off x="6060915" y="4304370"/>
            <a:ext cx="15949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vision pohjalta laaditaan tiekartta digivision toteuttamiseks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3C0FFA1-14C1-C3D5-40DA-CA8318D2C16D}"/>
              </a:ext>
            </a:extLst>
          </p:cNvPr>
          <p:cNvSpPr txBox="1"/>
          <p:nvPr/>
        </p:nvSpPr>
        <p:spPr>
          <a:xfrm>
            <a:off x="8282843" y="4304369"/>
            <a:ext cx="1594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hankkeiden toteutus digivision toteuttamiseksi</a:t>
            </a:r>
          </a:p>
        </p:txBody>
      </p:sp>
    </p:spTree>
    <p:extLst>
      <p:ext uri="{BB962C8B-B14F-4D97-AF65-F5344CB8AC3E}">
        <p14:creationId xmlns:p14="http://schemas.microsoft.com/office/powerpoint/2010/main" val="40778799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C677FB-C196-43FF-85C4-1E9447C600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Kiitos </a:t>
            </a:r>
          </a:p>
        </p:txBody>
      </p:sp>
      <p:pic>
        <p:nvPicPr>
          <p:cNvPr id="4" name="Graphic 3" descr="Smiling face outline with solid fill">
            <a:extLst>
              <a:ext uri="{FF2B5EF4-FFF2-40B4-BE49-F238E27FC236}">
                <a16:creationId xmlns:a16="http://schemas.microsoft.com/office/drawing/2014/main" id="{CE100754-1E31-46C7-AF4F-0C9E984CA7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2487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803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tkaisuehdotus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/>
              <a:t>Kasvavaan palvelutarpeeseen ja samanaikaisesti tapahtuvaan verotulojen vähentymiseen on tarve vastata </a:t>
            </a:r>
            <a:r>
              <a:rPr lang="fi-FI" u="sng" dirty="0"/>
              <a:t>uudentyyppisillä</a:t>
            </a:r>
            <a:r>
              <a:rPr lang="fi-FI" dirty="0"/>
              <a:t> ja </a:t>
            </a:r>
            <a:r>
              <a:rPr lang="fi-FI" u="sng" dirty="0"/>
              <a:t>tehokkaammilla</a:t>
            </a:r>
            <a:r>
              <a:rPr lang="fi-FI" dirty="0"/>
              <a:t> palveluilla </a:t>
            </a:r>
            <a:r>
              <a:rPr lang="fi-FI" i="1" dirty="0"/>
              <a:t>hyödyntäen muun muassa erilaisia digitaalisia ratkaisuja</a:t>
            </a:r>
            <a:r>
              <a:rPr lang="fi-FI" dirty="0"/>
              <a:t>. </a:t>
            </a:r>
          </a:p>
          <a:p>
            <a:r>
              <a:rPr lang="fi-FI" dirty="0"/>
              <a:t>Pitkän aikavälin tavoitteena on väestön hyvinvoinnin parantaminen palvelujen saavutettavuuden ja saatavuuden parantuessa muun muassa omahoitoa tukevilla ratkaisuilla ja erilaisten etäpalveluratkaisujen avulla. </a:t>
            </a:r>
          </a:p>
          <a:p>
            <a:r>
              <a:rPr lang="fi-FI" dirty="0"/>
              <a:t>Pitkällä aikavälillä tämä vähentää palvelutarvetta.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04110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orakulmio 9">
            <a:extLst>
              <a:ext uri="{FF2B5EF4-FFF2-40B4-BE49-F238E27FC236}">
                <a16:creationId xmlns:a16="http://schemas.microsoft.com/office/drawing/2014/main" id="{EBE2CC35-8B22-497C-87E0-DC85B7D44B65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4837A0-F8B5-40DF-B7A3-2778985E9851}" type="slidenum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8F801-9BF5-46D1-98A5-513B8005DAC3}" type="datetime1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5.2022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67" y="188679"/>
            <a:ext cx="9942700" cy="64579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1" name="Tekstiruutu 10">
            <a:extLst>
              <a:ext uri="{FF2B5EF4-FFF2-40B4-BE49-F238E27FC236}">
                <a16:creationId xmlns:a16="http://schemas.microsoft.com/office/drawing/2014/main" id="{8B97D9E5-850F-43DF-827C-6493222CEFAC}"/>
              </a:ext>
            </a:extLst>
          </p:cNvPr>
          <p:cNvSpPr txBox="1"/>
          <p:nvPr/>
        </p:nvSpPr>
        <p:spPr>
          <a:xfrm>
            <a:off x="240662" y="3933409"/>
            <a:ext cx="1298321" cy="116955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kä on tavoitetila? Miten lainsäädäntö ym. ohjaavat? Millaisia valintoja tehdään? Miten edetään? Mitä seurataan?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B5E4927A-4489-4675-AB66-5254E0FA973D}"/>
              </a:ext>
            </a:extLst>
          </p:cNvPr>
          <p:cNvSpPr txBox="1"/>
          <p:nvPr/>
        </p:nvSpPr>
        <p:spPr>
          <a:xfrm>
            <a:off x="10427006" y="4241186"/>
            <a:ext cx="1298321" cy="55399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ka on asiaka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ä asiakas tarvitsee?</a:t>
            </a:r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3F76766D-57EF-4A8A-A123-3069A74591BA}"/>
              </a:ext>
            </a:extLst>
          </p:cNvPr>
          <p:cNvSpPr txBox="1"/>
          <p:nvPr/>
        </p:nvSpPr>
        <p:spPr>
          <a:xfrm>
            <a:off x="3226200" y="852086"/>
            <a:ext cx="1298321" cy="7078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aista osaamista ja kulttuuria tarvitaan? Miten sitä kehitetään? </a:t>
            </a:r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id="{44DAEA63-F636-4638-878B-836E6ECA7D77}"/>
              </a:ext>
            </a:extLst>
          </p:cNvPr>
          <p:cNvSpPr txBox="1"/>
          <p:nvPr/>
        </p:nvSpPr>
        <p:spPr>
          <a:xfrm>
            <a:off x="4754338" y="698198"/>
            <a:ext cx="1298321" cy="86177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aisia (uusia) työn tekemisen tapoja ja prosesseja tarvitaan?</a:t>
            </a:r>
          </a:p>
        </p:txBody>
      </p:sp>
      <p:sp>
        <p:nvSpPr>
          <p:cNvPr id="16" name="Tekstiruutu 15">
            <a:extLst>
              <a:ext uri="{FF2B5EF4-FFF2-40B4-BE49-F238E27FC236}">
                <a16:creationId xmlns:a16="http://schemas.microsoft.com/office/drawing/2014/main" id="{04E39C42-EEE7-4CBD-8B44-3214AA1F8C5B}"/>
              </a:ext>
            </a:extLst>
          </p:cNvPr>
          <p:cNvSpPr txBox="1"/>
          <p:nvPr/>
        </p:nvSpPr>
        <p:spPr>
          <a:xfrm>
            <a:off x="6282476" y="697171"/>
            <a:ext cx="1298321" cy="86177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aista johtamista tarvitaan? Miten tietoa hyödynnetään johtamisen tukena?</a:t>
            </a:r>
          </a:p>
        </p:txBody>
      </p:sp>
      <p:sp>
        <p:nvSpPr>
          <p:cNvPr id="17" name="Tekstiruutu 16">
            <a:extLst>
              <a:ext uri="{FF2B5EF4-FFF2-40B4-BE49-F238E27FC236}">
                <a16:creationId xmlns:a16="http://schemas.microsoft.com/office/drawing/2014/main" id="{4DDFAD4E-91E9-4702-9372-B7A487BF021F}"/>
              </a:ext>
            </a:extLst>
          </p:cNvPr>
          <p:cNvSpPr txBox="1"/>
          <p:nvPr/>
        </p:nvSpPr>
        <p:spPr>
          <a:xfrm>
            <a:off x="7696528" y="1005974"/>
            <a:ext cx="2177487" cy="55399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ä palveluja? Miten ne tuotetaan? Miten hyödynnetään digitaalisia ratkaisuja?</a:t>
            </a:r>
          </a:p>
        </p:txBody>
      </p:sp>
      <p:sp>
        <p:nvSpPr>
          <p:cNvPr id="18" name="Tekstiruutu 17">
            <a:extLst>
              <a:ext uri="{FF2B5EF4-FFF2-40B4-BE49-F238E27FC236}">
                <a16:creationId xmlns:a16="http://schemas.microsoft.com/office/drawing/2014/main" id="{9C981CC0-0E05-41CA-9BFE-D096E681F6EE}"/>
              </a:ext>
            </a:extLst>
          </p:cNvPr>
          <p:cNvSpPr txBox="1"/>
          <p:nvPr/>
        </p:nvSpPr>
        <p:spPr>
          <a:xfrm>
            <a:off x="4015409" y="5728914"/>
            <a:ext cx="4086969" cy="4001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en toimintaympäristö muuttuu? Mitkä ovat toimintaamme kriittisesti vaikuttavia muutoksia? Miten organisaatiota tulisi muuttaa?</a:t>
            </a:r>
          </a:p>
        </p:txBody>
      </p:sp>
      <p:sp>
        <p:nvSpPr>
          <p:cNvPr id="19" name="Tekstiruutu 18">
            <a:extLst>
              <a:ext uri="{FF2B5EF4-FFF2-40B4-BE49-F238E27FC236}">
                <a16:creationId xmlns:a16="http://schemas.microsoft.com/office/drawing/2014/main" id="{D880AC56-E702-4E11-9B1A-12F1C7C6728E}"/>
              </a:ext>
            </a:extLst>
          </p:cNvPr>
          <p:cNvSpPr txBox="1"/>
          <p:nvPr/>
        </p:nvSpPr>
        <p:spPr>
          <a:xfrm>
            <a:off x="5455656" y="4395401"/>
            <a:ext cx="1298321" cy="73866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iminnan jatkuva kehittäminen</a:t>
            </a:r>
          </a:p>
        </p:txBody>
      </p:sp>
    </p:spTree>
    <p:extLst>
      <p:ext uri="{BB962C8B-B14F-4D97-AF65-F5344CB8AC3E}">
        <p14:creationId xmlns:p14="http://schemas.microsoft.com/office/powerpoint/2010/main" val="33270474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Hankkeen tavoitteet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idx="1"/>
          </p:nvPr>
        </p:nvSpPr>
        <p:spPr>
          <a:xfrm>
            <a:off x="6456040" y="1700808"/>
            <a:ext cx="4871944" cy="4140000"/>
          </a:xfrm>
        </p:spPr>
        <p:txBody>
          <a:bodyPr/>
          <a:lstStyle/>
          <a:p>
            <a:pPr marL="0" indent="0">
              <a:buNone/>
            </a:pPr>
            <a:r>
              <a:rPr lang="fi-FI" dirty="0"/>
              <a:t>Hankkeen tavoitteena on</a:t>
            </a:r>
          </a:p>
          <a:p>
            <a:r>
              <a:rPr lang="fi-FI" sz="1400" dirty="0">
                <a:ea typeface="+mn-lt"/>
                <a:cs typeface="+mn-lt"/>
              </a:rPr>
              <a:t>kehittää ja ottaa käyttöön uudet toimintamallit johdolle digitalisaation strategiseen johtamiseen ja digikehittäjille kehittämiseen</a:t>
            </a:r>
          </a:p>
          <a:p>
            <a:r>
              <a:rPr lang="fi-FI" sz="1400" dirty="0">
                <a:ea typeface="+mn-lt"/>
                <a:cs typeface="+mn-lt"/>
              </a:rPr>
              <a:t>lisätä eri henkilöstöryhmien osaamista digitalisaation johtamisesta, suunnittelusta ja hyödyntämisestä palvelujen ja toimintamallien kehittyessä</a:t>
            </a:r>
          </a:p>
          <a:p>
            <a:endParaRPr lang="fi-FI" sz="1400" dirty="0">
              <a:ea typeface="+mn-lt"/>
              <a:cs typeface="+mn-lt"/>
            </a:endParaRPr>
          </a:p>
          <a:p>
            <a:r>
              <a:rPr lang="fi-FI" sz="1400" dirty="0">
                <a:ea typeface="+mn-lt"/>
                <a:cs typeface="+mn-lt"/>
              </a:rPr>
              <a:t>…joiden avulla</a:t>
            </a:r>
            <a:endParaRPr lang="fi-FI" sz="1400" dirty="0">
              <a:cs typeface="Arial"/>
            </a:endParaRPr>
          </a:p>
          <a:p>
            <a:pPr lvl="1"/>
            <a:r>
              <a:rPr lang="fi-FI" sz="1000" dirty="0">
                <a:ea typeface="+mn-lt"/>
                <a:cs typeface="+mn-lt"/>
              </a:rPr>
              <a:t>saadaan organisaation toiminnan tilannekuvaa reaaliaikaisemmaksi reagointinopeuden kasvattamiseksi</a:t>
            </a:r>
            <a:endParaRPr lang="fi-FI" sz="1000" dirty="0">
              <a:cs typeface="Arial"/>
            </a:endParaRPr>
          </a:p>
          <a:p>
            <a:pPr lvl="1"/>
            <a:r>
              <a:rPr lang="fi-FI" sz="1000" dirty="0">
                <a:ea typeface="+mn-lt"/>
                <a:cs typeface="+mn-lt"/>
              </a:rPr>
              <a:t>saadaan työtä ja informaation käsittelyä organisoitua uudella tavalla </a:t>
            </a:r>
            <a:endParaRPr lang="fi-FI" sz="1000" dirty="0">
              <a:cs typeface="Arial"/>
            </a:endParaRPr>
          </a:p>
          <a:p>
            <a:pPr lvl="1"/>
            <a:r>
              <a:rPr lang="fi-FI" sz="1000" dirty="0">
                <a:ea typeface="+mn-lt"/>
                <a:cs typeface="+mn-lt"/>
              </a:rPr>
              <a:t>hillitään kustannuksia ja henkilöstötarpeita työn tehostumisen ja kansalaisten omahoidon kautta.</a:t>
            </a:r>
            <a:endParaRPr lang="fi-FI" sz="1000" dirty="0">
              <a:cs typeface="Arial"/>
            </a:endParaRPr>
          </a:p>
          <a:p>
            <a:endParaRPr lang="fi-FI" dirty="0">
              <a:cs typeface="Arial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4837A0-F8B5-40DF-B7A3-2778985E9851}" type="slidenum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8F801-9BF5-46D1-98A5-513B8005DAC3}" type="datetime1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5.2022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512000"/>
            <a:ext cx="5313924" cy="34514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276425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Hankkeen kohderyhmä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idx="1"/>
          </p:nvPr>
        </p:nvSpPr>
        <p:spPr>
          <a:xfrm>
            <a:off x="6456040" y="1700808"/>
            <a:ext cx="4871944" cy="4140000"/>
          </a:xfrm>
        </p:spPr>
        <p:txBody>
          <a:bodyPr/>
          <a:lstStyle/>
          <a:p>
            <a:r>
              <a:rPr lang="fi-FI" dirty="0"/>
              <a:t>Hankkeen varsinaisena kohderyhmänä on organisaatiomme henkilöstö: </a:t>
            </a:r>
          </a:p>
          <a:p>
            <a:pPr lvl="1"/>
            <a:r>
              <a:rPr lang="fi-FI" dirty="0"/>
              <a:t>johto </a:t>
            </a:r>
          </a:p>
          <a:p>
            <a:pPr lvl="1"/>
            <a:r>
              <a:rPr lang="fi-FI" dirty="0"/>
              <a:t>nimetyt digikehittäjät </a:t>
            </a:r>
          </a:p>
          <a:p>
            <a:pPr lvl="1"/>
            <a:r>
              <a:rPr lang="fi-FI" dirty="0"/>
              <a:t>lähiesimiehet.</a:t>
            </a:r>
          </a:p>
          <a:p>
            <a:endParaRPr lang="fi-FI" dirty="0">
              <a:cs typeface="Arial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4837A0-F8B5-40DF-B7A3-2778985E9851}" type="slidenum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8F801-9BF5-46D1-98A5-513B8005DAC3}" type="datetime1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5.2022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512000"/>
            <a:ext cx="5313924" cy="34514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27457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Hankkeen tulokset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idx="1"/>
          </p:nvPr>
        </p:nvSpPr>
        <p:spPr>
          <a:xfrm>
            <a:off x="6456040" y="1700808"/>
            <a:ext cx="4871944" cy="4140000"/>
          </a:xfrm>
        </p:spPr>
        <p:txBody>
          <a:bodyPr/>
          <a:lstStyle/>
          <a:p>
            <a:pPr>
              <a:buAutoNum type="arabicPeriod"/>
            </a:pPr>
            <a:r>
              <a:rPr lang="fi-FI" sz="1400" b="1">
                <a:ea typeface="+mn-lt"/>
                <a:cs typeface="+mn-lt"/>
              </a:rPr>
              <a:t>Uudet toimintamallit </a:t>
            </a:r>
            <a:r>
              <a:rPr lang="fi-FI" sz="1400">
                <a:ea typeface="+mn-lt"/>
                <a:cs typeface="+mn-lt"/>
              </a:rPr>
              <a:t>digitaalisten palvelujen ja ratkaisujen kehittämiseksi </a:t>
            </a:r>
          </a:p>
          <a:p>
            <a:pPr>
              <a:buAutoNum type="arabicPeriod"/>
            </a:pPr>
            <a:endParaRPr lang="fi-FI" sz="1400">
              <a:ea typeface="+mn-lt"/>
              <a:cs typeface="+mn-lt"/>
            </a:endParaRPr>
          </a:p>
          <a:p>
            <a:pPr>
              <a:buAutoNum type="arabicPeriod"/>
            </a:pPr>
            <a:r>
              <a:rPr lang="fi-FI" sz="1400">
                <a:ea typeface="+mn-lt"/>
                <a:cs typeface="+mn-lt"/>
              </a:rPr>
              <a:t>Lähiesihenkilöille </a:t>
            </a:r>
            <a:r>
              <a:rPr lang="fi-FI" sz="1400" b="1">
                <a:ea typeface="+mn-lt"/>
                <a:cs typeface="+mn-lt"/>
              </a:rPr>
              <a:t>osaamista </a:t>
            </a:r>
            <a:r>
              <a:rPr lang="fi-FI" sz="1400">
                <a:ea typeface="+mn-lt"/>
                <a:cs typeface="+mn-lt"/>
              </a:rPr>
              <a:t>muutokseen ja sen johtamiseen</a:t>
            </a:r>
          </a:p>
          <a:p>
            <a:pPr>
              <a:buAutoNum type="arabicPeriod"/>
            </a:pPr>
            <a:endParaRPr lang="fi-FI" sz="1400" b="1">
              <a:ea typeface="+mn-lt"/>
              <a:cs typeface="+mn-lt"/>
            </a:endParaRPr>
          </a:p>
          <a:p>
            <a:pPr>
              <a:buAutoNum type="arabicPeriod"/>
            </a:pPr>
            <a:r>
              <a:rPr lang="fi-FI" sz="1400" b="1">
                <a:ea typeface="+mn-lt"/>
                <a:cs typeface="+mn-lt"/>
              </a:rPr>
              <a:t>Osaamista </a:t>
            </a:r>
            <a:r>
              <a:rPr lang="fi-FI" sz="1400">
                <a:ea typeface="+mn-lt"/>
                <a:cs typeface="+mn-lt"/>
              </a:rPr>
              <a:t>asiakaslähtöiseen digitaalisten palvelujen ja ratkaisujen kehittämiseen ja prosessien tehostamiseen </a:t>
            </a:r>
            <a:endParaRPr lang="fi-FI" sz="1400" b="1">
              <a:ea typeface="+mn-lt"/>
              <a:cs typeface="+mn-lt"/>
            </a:endParaRPr>
          </a:p>
          <a:p>
            <a:pPr>
              <a:buAutoNum type="arabicPeriod"/>
            </a:pPr>
            <a:endParaRPr lang="fi-FI" sz="1400">
              <a:ea typeface="+mn-lt"/>
              <a:cs typeface="+mn-lt"/>
            </a:endParaRPr>
          </a:p>
          <a:p>
            <a:pPr>
              <a:buAutoNum type="arabicPeriod"/>
            </a:pPr>
            <a:r>
              <a:rPr lang="fi-FI" sz="1400">
                <a:ea typeface="+mn-lt"/>
                <a:cs typeface="+mn-lt"/>
              </a:rPr>
              <a:t>Uusien ratkaisujen ja palvelujen </a:t>
            </a:r>
            <a:r>
              <a:rPr lang="fi-FI" sz="1400" b="1">
                <a:ea typeface="+mn-lt"/>
                <a:cs typeface="+mn-lt"/>
              </a:rPr>
              <a:t>käyttöönotot</a:t>
            </a:r>
            <a:r>
              <a:rPr lang="fi-FI" sz="1400">
                <a:ea typeface="+mn-lt"/>
                <a:cs typeface="+mn-lt"/>
              </a:rPr>
              <a:t> </a:t>
            </a:r>
            <a:endParaRPr lang="fi-FI" sz="1400" b="1">
              <a:ea typeface="+mn-lt"/>
              <a:cs typeface="+mn-lt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4837A0-F8B5-40DF-B7A3-2778985E9851}" type="slidenum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8F801-9BF5-46D1-98A5-513B8005DAC3}" type="datetime1">
              <a:rPr kumimoji="0" lang="fi-FI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5.2022</a:t>
            </a:fld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512000"/>
            <a:ext cx="5313924" cy="34514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035831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_Rakennerahastot_2014-2020_mallipohja_ESR_FI_7.14">
  <a:themeElements>
    <a:clrScheme name="TEM_Rakennerahastot">
      <a:dk1>
        <a:sysClr val="windowText" lastClr="000000"/>
      </a:dk1>
      <a:lt1>
        <a:srgbClr val="FFFFFF"/>
      </a:lt1>
      <a:dk2>
        <a:srgbClr val="646464"/>
      </a:dk2>
      <a:lt2>
        <a:srgbClr val="FFFFFF"/>
      </a:lt2>
      <a:accent1>
        <a:srgbClr val="8CBE41"/>
      </a:accent1>
      <a:accent2>
        <a:srgbClr val="5BC6E8"/>
      </a:accent2>
      <a:accent3>
        <a:srgbClr val="009FDA"/>
      </a:accent3>
      <a:accent4>
        <a:srgbClr val="5F378C"/>
      </a:accent4>
      <a:accent5>
        <a:srgbClr val="E2007A"/>
      </a:accent5>
      <a:accent6>
        <a:srgbClr val="F6921E"/>
      </a:accent6>
      <a:hlink>
        <a:srgbClr val="00549F"/>
      </a:hlink>
      <a:folHlink>
        <a:srgbClr val="00B299"/>
      </a:folHlink>
    </a:clrScheme>
    <a:fontScheme name="TEM_Rakennerahast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Ylä-Savon SOTE kuntayhtymän PowerPoint-pohja_2021.pptx" id="{A33F6157-8F43-7F4A-9AF1-75F5FEB30C2F}" vid="{DD8FB425-B00D-7C4E-A793-974DAE1A6DCD}"/>
    </a:ext>
  </a:extLst>
</a:theme>
</file>

<file path=ppt/theme/theme4.xml><?xml version="1.0" encoding="utf-8"?>
<a:theme xmlns:a="http://schemas.openxmlformats.org/drawingml/2006/main" name="2_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88D8F5F1CD29642AEBD1D712A78DC9F" ma:contentTypeVersion="7" ma:contentTypeDescription="Luo uusi asiakirja." ma:contentTypeScope="" ma:versionID="296bd48c6f363883cd319d2f679fbd41">
  <xsd:schema xmlns:xsd="http://www.w3.org/2001/XMLSchema" xmlns:xs="http://www.w3.org/2001/XMLSchema" xmlns:p="http://schemas.microsoft.com/office/2006/metadata/properties" xmlns:ns2="e38d62b7-2d78-4676-9612-66313962fa2d" targetNamespace="http://schemas.microsoft.com/office/2006/metadata/properties" ma:root="true" ma:fieldsID="76a9e5ce1d0cdf3884c78b358971f50e" ns2:_="">
    <xsd:import namespace="e38d62b7-2d78-4676-9612-66313962fa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d62b7-2d78-4676-9612-66313962fa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D7668A-5B39-4F08-A9D5-C338F8630B21}">
  <ds:schemaRefs>
    <ds:schemaRef ds:uri="e38d62b7-2d78-4676-9612-66313962fa2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FE3D97F-EE09-4D52-8C55-5FD9FB486857}">
  <ds:schemaRefs>
    <ds:schemaRef ds:uri="http://schemas.microsoft.com/office/2006/metadata/properties"/>
    <ds:schemaRef ds:uri="e38d62b7-2d78-4676-9612-66313962fa2d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8D9F7A-28CB-41AD-8661-CEE41E6F7E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638</TotalTime>
  <Words>2516</Words>
  <Application>Microsoft Office PowerPoint</Application>
  <PresentationFormat>Widescreen</PresentationFormat>
  <Paragraphs>660</Paragraphs>
  <Slides>4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7" baseType="lpstr">
      <vt:lpstr>Arial</vt:lpstr>
      <vt:lpstr>Calibri</vt:lpstr>
      <vt:lpstr>futura-pt</vt:lpstr>
      <vt:lpstr>Ivar Headline</vt:lpstr>
      <vt:lpstr>Lab Grotesque</vt:lpstr>
      <vt:lpstr>Lato</vt:lpstr>
      <vt:lpstr>Lato Black</vt:lpstr>
      <vt:lpstr>Lato Light</vt:lpstr>
      <vt:lpstr>Office-teema</vt:lpstr>
      <vt:lpstr>TEM_Rakennerahastot_2014-2020_mallipohja_ESR_FI_7.14</vt:lpstr>
      <vt:lpstr>1_Office-teema</vt:lpstr>
      <vt:lpstr>2_Office-teema</vt:lpstr>
      <vt:lpstr>think-cell Slide</vt:lpstr>
      <vt:lpstr>Digikehittämistä tekemiseen!</vt:lpstr>
      <vt:lpstr>PowerPoint Presentation</vt:lpstr>
      <vt:lpstr>Kuntayhtymä lyhyesti</vt:lpstr>
      <vt:lpstr>Ratkaistava haaste</vt:lpstr>
      <vt:lpstr>Ratkaisuehdotus</vt:lpstr>
      <vt:lpstr>PowerPoint Presentation</vt:lpstr>
      <vt:lpstr>Hankkeen tavoitteet</vt:lpstr>
      <vt:lpstr>Hankkeen kohderyhmä</vt:lpstr>
      <vt:lpstr>Hankkeen tulokset</vt:lpstr>
      <vt:lpstr>(Digi)kehittämisen johtaminen</vt:lpstr>
      <vt:lpstr>Taustalla BT-standardin ajatus- ja toimintamalli</vt:lpstr>
      <vt:lpstr>Digiohjelma</vt:lpstr>
      <vt:lpstr>Digiohjelman suunnittelu</vt:lpstr>
      <vt:lpstr>Digiohjelma osana kuntayhtymän strategiaa ”Hyvinvoiva Ylä-Savo 2025”</vt:lpstr>
      <vt:lpstr>Digiohjelma näyttää suuntaa digikehittämiselle </vt:lpstr>
      <vt:lpstr>Digiohjelman kehitysaihiot 2021-</vt:lpstr>
      <vt:lpstr>PowerPoint Presentation</vt:lpstr>
      <vt:lpstr>Digikehittäjän rooli ja tehtävänkuva (20 % työajasta)</vt:lpstr>
      <vt:lpstr>Kehittämisen johtamisen malli</vt:lpstr>
      <vt:lpstr>PowerPoint Presentation</vt:lpstr>
      <vt:lpstr>PowerPoint Presentation</vt:lpstr>
      <vt:lpstr>PowerPoint Presentation</vt:lpstr>
      <vt:lpstr>Kehittämisen Roadmap</vt:lpstr>
      <vt:lpstr>PowerPoint Presentation</vt:lpstr>
      <vt:lpstr>Digitalisaation johtamisen mallit</vt:lpstr>
      <vt:lpstr>Toimeksiannosta syntyneet mallit - yhteenveto</vt:lpstr>
      <vt:lpstr>Tasoajattelu digijohtamisessa</vt:lpstr>
      <vt:lpstr>Digijohtamisen tasot</vt:lpstr>
      <vt:lpstr>Digitoimisto ”2.0”</vt:lpstr>
      <vt:lpstr>Digitoimiston ominaispiirteitä</vt:lpstr>
      <vt:lpstr>Digitoimistolla vahva rooli ”digikiihdyttäjänä”</vt:lpstr>
      <vt:lpstr>Digitoimiston ja Tietohallinnon välinen rooli digijohtamisessa</vt:lpstr>
      <vt:lpstr>Digitoimiston vastuut suhteessa digikehittäjiin ja tietohallintoon</vt:lpstr>
      <vt:lpstr>Digiohjelman ohjausryhmä</vt:lpstr>
      <vt:lpstr>Digiohjelman ohjausryhmä</vt:lpstr>
      <vt:lpstr>Digikehittämisen toimintamalli</vt:lpstr>
      <vt:lpstr>Digikehittämisen ”luonne”</vt:lpstr>
      <vt:lpstr>Digikehittäminen palvelumuotoilun keinoin ideasta toteutukseen</vt:lpstr>
      <vt:lpstr>Digikehitysmalli ja liittyvät roolit</vt:lpstr>
      <vt:lpstr>Tunnistetut kehittämistoimenpiteet</vt:lpstr>
      <vt:lpstr>Tunnistetut merkittävät kehitystoimenpiteet</vt:lpstr>
      <vt:lpstr>Suositukset</vt:lpstr>
      <vt:lpstr> Digimurroksen hallitun haltuunoton seuraavat askeleet - suositus</vt:lpstr>
      <vt:lpstr>Kiito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Hannu Heikkinen</dc:creator>
  <cp:lastModifiedBy>Ålander Mika</cp:lastModifiedBy>
  <cp:revision>80</cp:revision>
  <dcterms:created xsi:type="dcterms:W3CDTF">2020-12-07T12:02:25Z</dcterms:created>
  <dcterms:modified xsi:type="dcterms:W3CDTF">2022-05-25T09:4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8D8F5F1CD29642AEBD1D712A78DC9F</vt:lpwstr>
  </property>
</Properties>
</file>